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6" r:id="rId1"/>
  </p:sldMasterIdLst>
  <p:notesMasterIdLst>
    <p:notesMasterId r:id="rId20"/>
  </p:notesMasterIdLst>
  <p:sldIdLst>
    <p:sldId id="256" r:id="rId2"/>
    <p:sldId id="257" r:id="rId3"/>
    <p:sldId id="262" r:id="rId4"/>
    <p:sldId id="258" r:id="rId5"/>
    <p:sldId id="259" r:id="rId6"/>
    <p:sldId id="260" r:id="rId7"/>
    <p:sldId id="271" r:id="rId8"/>
    <p:sldId id="270" r:id="rId9"/>
    <p:sldId id="261" r:id="rId10"/>
    <p:sldId id="272" r:id="rId11"/>
    <p:sldId id="273" r:id="rId12"/>
    <p:sldId id="263" r:id="rId13"/>
    <p:sldId id="264" r:id="rId14"/>
    <p:sldId id="265" r:id="rId15"/>
    <p:sldId id="269" r:id="rId16"/>
    <p:sldId id="266" r:id="rId17"/>
    <p:sldId id="267" r:id="rId18"/>
    <p:sldId id="26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account" initials="Ma" lastIdx="1" clrIdx="0">
    <p:extLst>
      <p:ext uri="{19B8F6BF-5375-455C-9EA6-DF929625EA0E}">
        <p15:presenceInfo xmlns:p15="http://schemas.microsoft.com/office/powerpoint/2012/main" userId="65323acdd722d08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25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1-30T08:31:06.805" idx="1">
    <p:pos x="10" y="10"/>
    <p:text/>
    <p:extLst>
      <p:ext uri="{C676402C-5697-4E1C-873F-D02D1690AC5C}">
        <p15:threadingInfo xmlns:p15="http://schemas.microsoft.com/office/powerpoint/2012/main" timeZoneBias="-33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4B2079-668C-4BDB-8D6E-B8E3C22CB1F3}"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97C80F82-586F-4992-85B7-4E3D971434B4}">
      <dgm:prSet phldrT="[Text]"/>
      <dgm:spPr/>
      <dgm:t>
        <a:bodyPr/>
        <a:lstStyle/>
        <a:p>
          <a:r>
            <a:rPr lang="en-US" dirty="0" smtClean="0"/>
            <a:t>Purpose Of Statement(What are we talking about)</a:t>
          </a:r>
          <a:endParaRPr lang="en-US" dirty="0"/>
        </a:p>
      </dgm:t>
    </dgm:pt>
    <dgm:pt modelId="{7B3B24F1-7788-4A15-9F77-6A120615F8DA}" type="parTrans" cxnId="{3D5B36F2-5832-426C-8478-481FDF4C4A06}">
      <dgm:prSet/>
      <dgm:spPr/>
      <dgm:t>
        <a:bodyPr/>
        <a:lstStyle/>
        <a:p>
          <a:endParaRPr lang="en-US"/>
        </a:p>
      </dgm:t>
    </dgm:pt>
    <dgm:pt modelId="{D8A16C9D-C8AB-473B-B7A8-463759E0B638}" type="sibTrans" cxnId="{3D5B36F2-5832-426C-8478-481FDF4C4A06}">
      <dgm:prSet/>
      <dgm:spPr/>
      <dgm:t>
        <a:bodyPr/>
        <a:lstStyle/>
        <a:p>
          <a:endParaRPr lang="en-US"/>
        </a:p>
      </dgm:t>
    </dgm:pt>
    <dgm:pt modelId="{C15640EE-65FE-413D-AA2C-D9BECE8B707F}">
      <dgm:prSet phldrT="[Text]"/>
      <dgm:spPr/>
      <dgm:t>
        <a:bodyPr/>
        <a:lstStyle/>
        <a:p>
          <a:r>
            <a:rPr lang="en-US" dirty="0" smtClean="0"/>
            <a:t>Tell  Story(With Data)</a:t>
          </a:r>
          <a:endParaRPr lang="en-US" dirty="0"/>
        </a:p>
      </dgm:t>
    </dgm:pt>
    <dgm:pt modelId="{61E86CEC-D180-48C1-A055-DCBC9691779E}" type="parTrans" cxnId="{D5FF387E-8563-465E-B8A7-3521EAB45713}">
      <dgm:prSet/>
      <dgm:spPr/>
      <dgm:t>
        <a:bodyPr/>
        <a:lstStyle/>
        <a:p>
          <a:endParaRPr lang="en-US"/>
        </a:p>
      </dgm:t>
    </dgm:pt>
    <dgm:pt modelId="{BB89305B-E4C7-4DFC-AFC1-B81063143A13}" type="sibTrans" cxnId="{D5FF387E-8563-465E-B8A7-3521EAB45713}">
      <dgm:prSet/>
      <dgm:spPr/>
      <dgm:t>
        <a:bodyPr/>
        <a:lstStyle/>
        <a:p>
          <a:endParaRPr lang="en-US"/>
        </a:p>
      </dgm:t>
    </dgm:pt>
    <dgm:pt modelId="{5EDD4AD0-B617-4EB7-9E1C-690F7E99F80D}">
      <dgm:prSet phldrT="[Text]"/>
      <dgm:spPr/>
      <dgm:t>
        <a:bodyPr/>
        <a:lstStyle/>
        <a:p>
          <a:r>
            <a:rPr lang="en-US" dirty="0" smtClean="0"/>
            <a:t>Conclusion</a:t>
          </a:r>
          <a:endParaRPr lang="en-US" dirty="0"/>
        </a:p>
      </dgm:t>
    </dgm:pt>
    <dgm:pt modelId="{1A8FA7C2-8CB0-442C-A621-3B765D87268A}" type="parTrans" cxnId="{E935055A-B97A-4D25-8B04-935F9CB0590F}">
      <dgm:prSet/>
      <dgm:spPr/>
      <dgm:t>
        <a:bodyPr/>
        <a:lstStyle/>
        <a:p>
          <a:endParaRPr lang="en-US"/>
        </a:p>
      </dgm:t>
    </dgm:pt>
    <dgm:pt modelId="{68284378-FD3A-45BB-989E-8EB78A3275AC}" type="sibTrans" cxnId="{E935055A-B97A-4D25-8B04-935F9CB0590F}">
      <dgm:prSet/>
      <dgm:spPr/>
      <dgm:t>
        <a:bodyPr/>
        <a:lstStyle/>
        <a:p>
          <a:endParaRPr lang="en-US"/>
        </a:p>
      </dgm:t>
    </dgm:pt>
    <dgm:pt modelId="{6DC9337A-CC95-4150-8289-DBFD3FDE8AB8}">
      <dgm:prSet phldrT="[Text]"/>
      <dgm:spPr/>
      <dgm:t>
        <a:bodyPr/>
        <a:lstStyle/>
        <a:p>
          <a:r>
            <a:rPr lang="en-US" dirty="0" smtClean="0"/>
            <a:t>Appendix</a:t>
          </a:r>
          <a:endParaRPr lang="en-US" dirty="0"/>
        </a:p>
      </dgm:t>
    </dgm:pt>
    <dgm:pt modelId="{1C96DE8F-21BC-4BBB-AC2C-97AD67B1B766}" type="parTrans" cxnId="{1658AD4F-12CC-4CB9-AB48-09A07B6E40E4}">
      <dgm:prSet/>
      <dgm:spPr/>
      <dgm:t>
        <a:bodyPr/>
        <a:lstStyle/>
        <a:p>
          <a:endParaRPr lang="en-US"/>
        </a:p>
      </dgm:t>
    </dgm:pt>
    <dgm:pt modelId="{D9D12D58-670E-4FE3-8E75-684FF9CD1B8C}" type="sibTrans" cxnId="{1658AD4F-12CC-4CB9-AB48-09A07B6E40E4}">
      <dgm:prSet/>
      <dgm:spPr/>
      <dgm:t>
        <a:bodyPr/>
        <a:lstStyle/>
        <a:p>
          <a:endParaRPr lang="en-US"/>
        </a:p>
      </dgm:t>
    </dgm:pt>
    <dgm:pt modelId="{E778678F-2DA5-4AAC-B962-52E2D7994080}">
      <dgm:prSet/>
      <dgm:spPr/>
      <dgm:t>
        <a:bodyPr/>
        <a:lstStyle/>
        <a:p>
          <a:r>
            <a:rPr lang="en-US" dirty="0" smtClean="0"/>
            <a:t>Data Summary</a:t>
          </a:r>
          <a:endParaRPr lang="en-US" dirty="0"/>
        </a:p>
      </dgm:t>
    </dgm:pt>
    <dgm:pt modelId="{351084FD-E682-4A39-A5BF-0D0116DD795E}" type="parTrans" cxnId="{30C941ED-6AB3-45EB-8E13-6059BD2DE6DE}">
      <dgm:prSet/>
      <dgm:spPr/>
      <dgm:t>
        <a:bodyPr/>
        <a:lstStyle/>
        <a:p>
          <a:endParaRPr lang="en-US"/>
        </a:p>
      </dgm:t>
    </dgm:pt>
    <dgm:pt modelId="{8062E7A2-05F8-4F90-B481-57A8DBE379D2}" type="sibTrans" cxnId="{30C941ED-6AB3-45EB-8E13-6059BD2DE6DE}">
      <dgm:prSet/>
      <dgm:spPr/>
      <dgm:t>
        <a:bodyPr/>
        <a:lstStyle/>
        <a:p>
          <a:endParaRPr lang="en-US"/>
        </a:p>
      </dgm:t>
    </dgm:pt>
    <dgm:pt modelId="{ABB4403F-2E53-4459-B469-D49468348AEF}" type="pres">
      <dgm:prSet presAssocID="{894B2079-668C-4BDB-8D6E-B8E3C22CB1F3}" presName="linear" presStyleCnt="0">
        <dgm:presLayoutVars>
          <dgm:dir/>
          <dgm:animLvl val="lvl"/>
          <dgm:resizeHandles val="exact"/>
        </dgm:presLayoutVars>
      </dgm:prSet>
      <dgm:spPr/>
      <dgm:t>
        <a:bodyPr/>
        <a:lstStyle/>
        <a:p>
          <a:endParaRPr lang="en-US"/>
        </a:p>
      </dgm:t>
    </dgm:pt>
    <dgm:pt modelId="{AADDFE05-AADC-493B-BE69-65C0F0433540}" type="pres">
      <dgm:prSet presAssocID="{E778678F-2DA5-4AAC-B962-52E2D7994080}" presName="parentLin" presStyleCnt="0"/>
      <dgm:spPr/>
    </dgm:pt>
    <dgm:pt modelId="{02E68D80-5E09-4A18-8E7A-39A71BD2C76D}" type="pres">
      <dgm:prSet presAssocID="{E778678F-2DA5-4AAC-B962-52E2D7994080}" presName="parentLeftMargin" presStyleLbl="node1" presStyleIdx="0" presStyleCnt="5"/>
      <dgm:spPr/>
      <dgm:t>
        <a:bodyPr/>
        <a:lstStyle/>
        <a:p>
          <a:endParaRPr lang="en-US"/>
        </a:p>
      </dgm:t>
    </dgm:pt>
    <dgm:pt modelId="{603D1B32-081C-4A87-8C66-F0BF5F228CCB}" type="pres">
      <dgm:prSet presAssocID="{E778678F-2DA5-4AAC-B962-52E2D7994080}" presName="parentText" presStyleLbl="node1" presStyleIdx="0" presStyleCnt="5">
        <dgm:presLayoutVars>
          <dgm:chMax val="0"/>
          <dgm:bulletEnabled val="1"/>
        </dgm:presLayoutVars>
      </dgm:prSet>
      <dgm:spPr/>
      <dgm:t>
        <a:bodyPr/>
        <a:lstStyle/>
        <a:p>
          <a:endParaRPr lang="en-US"/>
        </a:p>
      </dgm:t>
    </dgm:pt>
    <dgm:pt modelId="{E9C8B281-4DE8-4C3E-99D7-B64879B2D7BB}" type="pres">
      <dgm:prSet presAssocID="{E778678F-2DA5-4AAC-B962-52E2D7994080}" presName="negativeSpace" presStyleCnt="0"/>
      <dgm:spPr/>
    </dgm:pt>
    <dgm:pt modelId="{AFBC7AC8-4466-47E0-B683-BEF4B6B6A2E0}" type="pres">
      <dgm:prSet presAssocID="{E778678F-2DA5-4AAC-B962-52E2D7994080}" presName="childText" presStyleLbl="conFgAcc1" presStyleIdx="0" presStyleCnt="5">
        <dgm:presLayoutVars>
          <dgm:bulletEnabled val="1"/>
        </dgm:presLayoutVars>
      </dgm:prSet>
      <dgm:spPr/>
    </dgm:pt>
    <dgm:pt modelId="{62163570-94E3-43A9-B50E-F1DDF957F3C2}" type="pres">
      <dgm:prSet presAssocID="{8062E7A2-05F8-4F90-B481-57A8DBE379D2}" presName="spaceBetweenRectangles" presStyleCnt="0"/>
      <dgm:spPr/>
    </dgm:pt>
    <dgm:pt modelId="{6AAE11C3-A0C0-4C59-A91B-3F9644C35D00}" type="pres">
      <dgm:prSet presAssocID="{97C80F82-586F-4992-85B7-4E3D971434B4}" presName="parentLin" presStyleCnt="0"/>
      <dgm:spPr/>
    </dgm:pt>
    <dgm:pt modelId="{B0FE2480-1568-4169-BBC8-4A4C10BDEA06}" type="pres">
      <dgm:prSet presAssocID="{97C80F82-586F-4992-85B7-4E3D971434B4}" presName="parentLeftMargin" presStyleLbl="node1" presStyleIdx="0" presStyleCnt="5"/>
      <dgm:spPr/>
      <dgm:t>
        <a:bodyPr/>
        <a:lstStyle/>
        <a:p>
          <a:endParaRPr lang="en-US"/>
        </a:p>
      </dgm:t>
    </dgm:pt>
    <dgm:pt modelId="{0437770C-E8B3-46EE-A990-2BCE14CD9664}" type="pres">
      <dgm:prSet presAssocID="{97C80F82-586F-4992-85B7-4E3D971434B4}" presName="parentText" presStyleLbl="node1" presStyleIdx="1" presStyleCnt="5">
        <dgm:presLayoutVars>
          <dgm:chMax val="0"/>
          <dgm:bulletEnabled val="1"/>
        </dgm:presLayoutVars>
      </dgm:prSet>
      <dgm:spPr/>
      <dgm:t>
        <a:bodyPr/>
        <a:lstStyle/>
        <a:p>
          <a:endParaRPr lang="en-US"/>
        </a:p>
      </dgm:t>
    </dgm:pt>
    <dgm:pt modelId="{717050B8-1DF9-4916-8A5F-E31FA595C4C1}" type="pres">
      <dgm:prSet presAssocID="{97C80F82-586F-4992-85B7-4E3D971434B4}" presName="negativeSpace" presStyleCnt="0"/>
      <dgm:spPr/>
    </dgm:pt>
    <dgm:pt modelId="{4D859E41-FC1C-4232-819F-25F0F3EA722B}" type="pres">
      <dgm:prSet presAssocID="{97C80F82-586F-4992-85B7-4E3D971434B4}" presName="childText" presStyleLbl="conFgAcc1" presStyleIdx="1" presStyleCnt="5">
        <dgm:presLayoutVars>
          <dgm:bulletEnabled val="1"/>
        </dgm:presLayoutVars>
      </dgm:prSet>
      <dgm:spPr/>
    </dgm:pt>
    <dgm:pt modelId="{8E8E87F3-B3D3-48F1-A0D8-68DCFFD639A8}" type="pres">
      <dgm:prSet presAssocID="{D8A16C9D-C8AB-473B-B7A8-463759E0B638}" presName="spaceBetweenRectangles" presStyleCnt="0"/>
      <dgm:spPr/>
    </dgm:pt>
    <dgm:pt modelId="{57CDD603-EC69-4B87-A634-499C8765DA74}" type="pres">
      <dgm:prSet presAssocID="{C15640EE-65FE-413D-AA2C-D9BECE8B707F}" presName="parentLin" presStyleCnt="0"/>
      <dgm:spPr/>
    </dgm:pt>
    <dgm:pt modelId="{69B4BFBF-D84D-4821-A187-A4B28B06EA89}" type="pres">
      <dgm:prSet presAssocID="{C15640EE-65FE-413D-AA2C-D9BECE8B707F}" presName="parentLeftMargin" presStyleLbl="node1" presStyleIdx="1" presStyleCnt="5"/>
      <dgm:spPr/>
      <dgm:t>
        <a:bodyPr/>
        <a:lstStyle/>
        <a:p>
          <a:endParaRPr lang="en-US"/>
        </a:p>
      </dgm:t>
    </dgm:pt>
    <dgm:pt modelId="{3851AD03-1780-4E62-B002-6EB7CD6D6DC3}" type="pres">
      <dgm:prSet presAssocID="{C15640EE-65FE-413D-AA2C-D9BECE8B707F}" presName="parentText" presStyleLbl="node1" presStyleIdx="2" presStyleCnt="5">
        <dgm:presLayoutVars>
          <dgm:chMax val="0"/>
          <dgm:bulletEnabled val="1"/>
        </dgm:presLayoutVars>
      </dgm:prSet>
      <dgm:spPr/>
      <dgm:t>
        <a:bodyPr/>
        <a:lstStyle/>
        <a:p>
          <a:endParaRPr lang="en-US"/>
        </a:p>
      </dgm:t>
    </dgm:pt>
    <dgm:pt modelId="{59D142E6-1056-4910-B630-1962A3C80802}" type="pres">
      <dgm:prSet presAssocID="{C15640EE-65FE-413D-AA2C-D9BECE8B707F}" presName="negativeSpace" presStyleCnt="0"/>
      <dgm:spPr/>
    </dgm:pt>
    <dgm:pt modelId="{BD915448-77D5-4750-AAEC-99386E6D8174}" type="pres">
      <dgm:prSet presAssocID="{C15640EE-65FE-413D-AA2C-D9BECE8B707F}" presName="childText" presStyleLbl="conFgAcc1" presStyleIdx="2" presStyleCnt="5">
        <dgm:presLayoutVars>
          <dgm:bulletEnabled val="1"/>
        </dgm:presLayoutVars>
      </dgm:prSet>
      <dgm:spPr/>
    </dgm:pt>
    <dgm:pt modelId="{BCB4B0C8-F27E-4132-93A4-77A8FF9A731B}" type="pres">
      <dgm:prSet presAssocID="{BB89305B-E4C7-4DFC-AFC1-B81063143A13}" presName="spaceBetweenRectangles" presStyleCnt="0"/>
      <dgm:spPr/>
    </dgm:pt>
    <dgm:pt modelId="{D842383F-67E9-4F18-9C6D-23C7D1C0D485}" type="pres">
      <dgm:prSet presAssocID="{5EDD4AD0-B617-4EB7-9E1C-690F7E99F80D}" presName="parentLin" presStyleCnt="0"/>
      <dgm:spPr/>
    </dgm:pt>
    <dgm:pt modelId="{3C20CA6F-3B6B-4E29-8CEE-ECD37EAFA50E}" type="pres">
      <dgm:prSet presAssocID="{5EDD4AD0-B617-4EB7-9E1C-690F7E99F80D}" presName="parentLeftMargin" presStyleLbl="node1" presStyleIdx="2" presStyleCnt="5"/>
      <dgm:spPr/>
      <dgm:t>
        <a:bodyPr/>
        <a:lstStyle/>
        <a:p>
          <a:endParaRPr lang="en-US"/>
        </a:p>
      </dgm:t>
    </dgm:pt>
    <dgm:pt modelId="{2226013F-E76F-428E-87BF-64E89F42B779}" type="pres">
      <dgm:prSet presAssocID="{5EDD4AD0-B617-4EB7-9E1C-690F7E99F80D}" presName="parentText" presStyleLbl="node1" presStyleIdx="3" presStyleCnt="5">
        <dgm:presLayoutVars>
          <dgm:chMax val="0"/>
          <dgm:bulletEnabled val="1"/>
        </dgm:presLayoutVars>
      </dgm:prSet>
      <dgm:spPr/>
      <dgm:t>
        <a:bodyPr/>
        <a:lstStyle/>
        <a:p>
          <a:endParaRPr lang="en-US"/>
        </a:p>
      </dgm:t>
    </dgm:pt>
    <dgm:pt modelId="{6D44EC2F-3DFC-4D81-8CB5-AF589650D797}" type="pres">
      <dgm:prSet presAssocID="{5EDD4AD0-B617-4EB7-9E1C-690F7E99F80D}" presName="negativeSpace" presStyleCnt="0"/>
      <dgm:spPr/>
    </dgm:pt>
    <dgm:pt modelId="{2CCF1C83-6BEB-42E1-8332-20D415339329}" type="pres">
      <dgm:prSet presAssocID="{5EDD4AD0-B617-4EB7-9E1C-690F7E99F80D}" presName="childText" presStyleLbl="conFgAcc1" presStyleIdx="3" presStyleCnt="5">
        <dgm:presLayoutVars>
          <dgm:bulletEnabled val="1"/>
        </dgm:presLayoutVars>
      </dgm:prSet>
      <dgm:spPr/>
    </dgm:pt>
    <dgm:pt modelId="{893EA092-D927-4721-A150-0A61B658E1F5}" type="pres">
      <dgm:prSet presAssocID="{68284378-FD3A-45BB-989E-8EB78A3275AC}" presName="spaceBetweenRectangles" presStyleCnt="0"/>
      <dgm:spPr/>
    </dgm:pt>
    <dgm:pt modelId="{492C6CF7-0221-4568-9D3A-B958118B3009}" type="pres">
      <dgm:prSet presAssocID="{6DC9337A-CC95-4150-8289-DBFD3FDE8AB8}" presName="parentLin" presStyleCnt="0"/>
      <dgm:spPr/>
    </dgm:pt>
    <dgm:pt modelId="{4459EBFB-8180-4D91-9FFB-E7CADE9569B4}" type="pres">
      <dgm:prSet presAssocID="{6DC9337A-CC95-4150-8289-DBFD3FDE8AB8}" presName="parentLeftMargin" presStyleLbl="node1" presStyleIdx="3" presStyleCnt="5"/>
      <dgm:spPr/>
      <dgm:t>
        <a:bodyPr/>
        <a:lstStyle/>
        <a:p>
          <a:endParaRPr lang="en-US"/>
        </a:p>
      </dgm:t>
    </dgm:pt>
    <dgm:pt modelId="{F814619A-0CB1-4FFE-9646-FAF0B6FB1FA8}" type="pres">
      <dgm:prSet presAssocID="{6DC9337A-CC95-4150-8289-DBFD3FDE8AB8}" presName="parentText" presStyleLbl="node1" presStyleIdx="4" presStyleCnt="5">
        <dgm:presLayoutVars>
          <dgm:chMax val="0"/>
          <dgm:bulletEnabled val="1"/>
        </dgm:presLayoutVars>
      </dgm:prSet>
      <dgm:spPr/>
      <dgm:t>
        <a:bodyPr/>
        <a:lstStyle/>
        <a:p>
          <a:endParaRPr lang="en-US"/>
        </a:p>
      </dgm:t>
    </dgm:pt>
    <dgm:pt modelId="{02D76243-0D1C-4FC6-9CFC-A15CAE18AEC3}" type="pres">
      <dgm:prSet presAssocID="{6DC9337A-CC95-4150-8289-DBFD3FDE8AB8}" presName="negativeSpace" presStyleCnt="0"/>
      <dgm:spPr/>
    </dgm:pt>
    <dgm:pt modelId="{1DBE8B4B-C1A5-44FB-9B39-4CCE6DD74DFA}" type="pres">
      <dgm:prSet presAssocID="{6DC9337A-CC95-4150-8289-DBFD3FDE8AB8}" presName="childText" presStyleLbl="conFgAcc1" presStyleIdx="4" presStyleCnt="5">
        <dgm:presLayoutVars>
          <dgm:bulletEnabled val="1"/>
        </dgm:presLayoutVars>
      </dgm:prSet>
      <dgm:spPr/>
    </dgm:pt>
  </dgm:ptLst>
  <dgm:cxnLst>
    <dgm:cxn modelId="{55F5C08C-0129-4508-A89B-DD53876BEF4A}" type="presOf" srcId="{97C80F82-586F-4992-85B7-4E3D971434B4}" destId="{B0FE2480-1568-4169-BBC8-4A4C10BDEA06}" srcOrd="0" destOrd="0" presId="urn:microsoft.com/office/officeart/2005/8/layout/list1"/>
    <dgm:cxn modelId="{B96602F9-E662-456C-8FBB-80230C9D1165}" type="presOf" srcId="{6DC9337A-CC95-4150-8289-DBFD3FDE8AB8}" destId="{4459EBFB-8180-4D91-9FFB-E7CADE9569B4}" srcOrd="0" destOrd="0" presId="urn:microsoft.com/office/officeart/2005/8/layout/list1"/>
    <dgm:cxn modelId="{D636AA0A-1992-4B77-85F5-EAAC05D7F578}" type="presOf" srcId="{5EDD4AD0-B617-4EB7-9E1C-690F7E99F80D}" destId="{3C20CA6F-3B6B-4E29-8CEE-ECD37EAFA50E}" srcOrd="0" destOrd="0" presId="urn:microsoft.com/office/officeart/2005/8/layout/list1"/>
    <dgm:cxn modelId="{86518770-55F6-465A-98FE-825E4A9F2150}" type="presOf" srcId="{C15640EE-65FE-413D-AA2C-D9BECE8B707F}" destId="{3851AD03-1780-4E62-B002-6EB7CD6D6DC3}" srcOrd="1" destOrd="0" presId="urn:microsoft.com/office/officeart/2005/8/layout/list1"/>
    <dgm:cxn modelId="{19C6BF38-6573-456B-AD98-9C81937811D2}" type="presOf" srcId="{5EDD4AD0-B617-4EB7-9E1C-690F7E99F80D}" destId="{2226013F-E76F-428E-87BF-64E89F42B779}" srcOrd="1" destOrd="0" presId="urn:microsoft.com/office/officeart/2005/8/layout/list1"/>
    <dgm:cxn modelId="{5F14AEF5-3D67-443F-89EA-E744F0E43B57}" type="presOf" srcId="{E778678F-2DA5-4AAC-B962-52E2D7994080}" destId="{02E68D80-5E09-4A18-8E7A-39A71BD2C76D}" srcOrd="0" destOrd="0" presId="urn:microsoft.com/office/officeart/2005/8/layout/list1"/>
    <dgm:cxn modelId="{977BB598-9AC7-4A8F-BCE8-E5E9C17D48EE}" type="presOf" srcId="{97C80F82-586F-4992-85B7-4E3D971434B4}" destId="{0437770C-E8B3-46EE-A990-2BCE14CD9664}" srcOrd="1" destOrd="0" presId="urn:microsoft.com/office/officeart/2005/8/layout/list1"/>
    <dgm:cxn modelId="{3CF57933-B813-4556-A6A3-89AA4918E530}" type="presOf" srcId="{6DC9337A-CC95-4150-8289-DBFD3FDE8AB8}" destId="{F814619A-0CB1-4FFE-9646-FAF0B6FB1FA8}" srcOrd="1" destOrd="0" presId="urn:microsoft.com/office/officeart/2005/8/layout/list1"/>
    <dgm:cxn modelId="{30C941ED-6AB3-45EB-8E13-6059BD2DE6DE}" srcId="{894B2079-668C-4BDB-8D6E-B8E3C22CB1F3}" destId="{E778678F-2DA5-4AAC-B962-52E2D7994080}" srcOrd="0" destOrd="0" parTransId="{351084FD-E682-4A39-A5BF-0D0116DD795E}" sibTransId="{8062E7A2-05F8-4F90-B481-57A8DBE379D2}"/>
    <dgm:cxn modelId="{D5FF387E-8563-465E-B8A7-3521EAB45713}" srcId="{894B2079-668C-4BDB-8D6E-B8E3C22CB1F3}" destId="{C15640EE-65FE-413D-AA2C-D9BECE8B707F}" srcOrd="2" destOrd="0" parTransId="{61E86CEC-D180-48C1-A055-DCBC9691779E}" sibTransId="{BB89305B-E4C7-4DFC-AFC1-B81063143A13}"/>
    <dgm:cxn modelId="{1658AD4F-12CC-4CB9-AB48-09A07B6E40E4}" srcId="{894B2079-668C-4BDB-8D6E-B8E3C22CB1F3}" destId="{6DC9337A-CC95-4150-8289-DBFD3FDE8AB8}" srcOrd="4" destOrd="0" parTransId="{1C96DE8F-21BC-4BBB-AC2C-97AD67B1B766}" sibTransId="{D9D12D58-670E-4FE3-8E75-684FF9CD1B8C}"/>
    <dgm:cxn modelId="{C8F8173E-9863-48B2-8D3E-7081520E8662}" type="presOf" srcId="{894B2079-668C-4BDB-8D6E-B8E3C22CB1F3}" destId="{ABB4403F-2E53-4459-B469-D49468348AEF}" srcOrd="0" destOrd="0" presId="urn:microsoft.com/office/officeart/2005/8/layout/list1"/>
    <dgm:cxn modelId="{5C8B2A58-C58B-4105-92C1-ECFB36DADE3C}" type="presOf" srcId="{C15640EE-65FE-413D-AA2C-D9BECE8B707F}" destId="{69B4BFBF-D84D-4821-A187-A4B28B06EA89}" srcOrd="0" destOrd="0" presId="urn:microsoft.com/office/officeart/2005/8/layout/list1"/>
    <dgm:cxn modelId="{3D5B36F2-5832-426C-8478-481FDF4C4A06}" srcId="{894B2079-668C-4BDB-8D6E-B8E3C22CB1F3}" destId="{97C80F82-586F-4992-85B7-4E3D971434B4}" srcOrd="1" destOrd="0" parTransId="{7B3B24F1-7788-4A15-9F77-6A120615F8DA}" sibTransId="{D8A16C9D-C8AB-473B-B7A8-463759E0B638}"/>
    <dgm:cxn modelId="{086EEB16-6C8D-4363-9A45-86EB98A8C316}" type="presOf" srcId="{E778678F-2DA5-4AAC-B962-52E2D7994080}" destId="{603D1B32-081C-4A87-8C66-F0BF5F228CCB}" srcOrd="1" destOrd="0" presId="urn:microsoft.com/office/officeart/2005/8/layout/list1"/>
    <dgm:cxn modelId="{E935055A-B97A-4D25-8B04-935F9CB0590F}" srcId="{894B2079-668C-4BDB-8D6E-B8E3C22CB1F3}" destId="{5EDD4AD0-B617-4EB7-9E1C-690F7E99F80D}" srcOrd="3" destOrd="0" parTransId="{1A8FA7C2-8CB0-442C-A621-3B765D87268A}" sibTransId="{68284378-FD3A-45BB-989E-8EB78A3275AC}"/>
    <dgm:cxn modelId="{573156BE-1C35-4924-9A77-72CD9D27E21F}" type="presParOf" srcId="{ABB4403F-2E53-4459-B469-D49468348AEF}" destId="{AADDFE05-AADC-493B-BE69-65C0F0433540}" srcOrd="0" destOrd="0" presId="urn:microsoft.com/office/officeart/2005/8/layout/list1"/>
    <dgm:cxn modelId="{37982502-815E-4204-B835-146D9D129E89}" type="presParOf" srcId="{AADDFE05-AADC-493B-BE69-65C0F0433540}" destId="{02E68D80-5E09-4A18-8E7A-39A71BD2C76D}" srcOrd="0" destOrd="0" presId="urn:microsoft.com/office/officeart/2005/8/layout/list1"/>
    <dgm:cxn modelId="{3D9297F8-9891-4E0A-BF93-137D77581774}" type="presParOf" srcId="{AADDFE05-AADC-493B-BE69-65C0F0433540}" destId="{603D1B32-081C-4A87-8C66-F0BF5F228CCB}" srcOrd="1" destOrd="0" presId="urn:microsoft.com/office/officeart/2005/8/layout/list1"/>
    <dgm:cxn modelId="{6C99EC00-DDD8-4FD7-8B74-3317E4852E5E}" type="presParOf" srcId="{ABB4403F-2E53-4459-B469-D49468348AEF}" destId="{E9C8B281-4DE8-4C3E-99D7-B64879B2D7BB}" srcOrd="1" destOrd="0" presId="urn:microsoft.com/office/officeart/2005/8/layout/list1"/>
    <dgm:cxn modelId="{5DBC7010-F657-4027-A258-EC9C1D960DD3}" type="presParOf" srcId="{ABB4403F-2E53-4459-B469-D49468348AEF}" destId="{AFBC7AC8-4466-47E0-B683-BEF4B6B6A2E0}" srcOrd="2" destOrd="0" presId="urn:microsoft.com/office/officeart/2005/8/layout/list1"/>
    <dgm:cxn modelId="{ED09F4C8-2359-436A-A36D-02EFDB77959D}" type="presParOf" srcId="{ABB4403F-2E53-4459-B469-D49468348AEF}" destId="{62163570-94E3-43A9-B50E-F1DDF957F3C2}" srcOrd="3" destOrd="0" presId="urn:microsoft.com/office/officeart/2005/8/layout/list1"/>
    <dgm:cxn modelId="{6F2F5D0B-F7C2-4502-BE25-7A763CA973EF}" type="presParOf" srcId="{ABB4403F-2E53-4459-B469-D49468348AEF}" destId="{6AAE11C3-A0C0-4C59-A91B-3F9644C35D00}" srcOrd="4" destOrd="0" presId="urn:microsoft.com/office/officeart/2005/8/layout/list1"/>
    <dgm:cxn modelId="{36A9D024-CDC1-41A9-9478-8FEE8DAA100A}" type="presParOf" srcId="{6AAE11C3-A0C0-4C59-A91B-3F9644C35D00}" destId="{B0FE2480-1568-4169-BBC8-4A4C10BDEA06}" srcOrd="0" destOrd="0" presId="urn:microsoft.com/office/officeart/2005/8/layout/list1"/>
    <dgm:cxn modelId="{6D2973CC-4C3F-45DD-88F6-989C09363300}" type="presParOf" srcId="{6AAE11C3-A0C0-4C59-A91B-3F9644C35D00}" destId="{0437770C-E8B3-46EE-A990-2BCE14CD9664}" srcOrd="1" destOrd="0" presId="urn:microsoft.com/office/officeart/2005/8/layout/list1"/>
    <dgm:cxn modelId="{09536897-383A-4623-AD99-DFDFFDC6A1FC}" type="presParOf" srcId="{ABB4403F-2E53-4459-B469-D49468348AEF}" destId="{717050B8-1DF9-4916-8A5F-E31FA595C4C1}" srcOrd="5" destOrd="0" presId="urn:microsoft.com/office/officeart/2005/8/layout/list1"/>
    <dgm:cxn modelId="{037A8D86-4DB6-47E5-992A-2CA9FE9E5D5A}" type="presParOf" srcId="{ABB4403F-2E53-4459-B469-D49468348AEF}" destId="{4D859E41-FC1C-4232-819F-25F0F3EA722B}" srcOrd="6" destOrd="0" presId="urn:microsoft.com/office/officeart/2005/8/layout/list1"/>
    <dgm:cxn modelId="{73969020-C017-4531-B605-6BE7D38790DC}" type="presParOf" srcId="{ABB4403F-2E53-4459-B469-D49468348AEF}" destId="{8E8E87F3-B3D3-48F1-A0D8-68DCFFD639A8}" srcOrd="7" destOrd="0" presId="urn:microsoft.com/office/officeart/2005/8/layout/list1"/>
    <dgm:cxn modelId="{FCCC49AD-77B5-480E-BCCA-6E31729E3575}" type="presParOf" srcId="{ABB4403F-2E53-4459-B469-D49468348AEF}" destId="{57CDD603-EC69-4B87-A634-499C8765DA74}" srcOrd="8" destOrd="0" presId="urn:microsoft.com/office/officeart/2005/8/layout/list1"/>
    <dgm:cxn modelId="{F5660FBF-E939-4F70-A73F-4A93DCC73E10}" type="presParOf" srcId="{57CDD603-EC69-4B87-A634-499C8765DA74}" destId="{69B4BFBF-D84D-4821-A187-A4B28B06EA89}" srcOrd="0" destOrd="0" presId="urn:microsoft.com/office/officeart/2005/8/layout/list1"/>
    <dgm:cxn modelId="{CBE91DEE-0D5F-4A3C-A9D7-D40435FDD306}" type="presParOf" srcId="{57CDD603-EC69-4B87-A634-499C8765DA74}" destId="{3851AD03-1780-4E62-B002-6EB7CD6D6DC3}" srcOrd="1" destOrd="0" presId="urn:microsoft.com/office/officeart/2005/8/layout/list1"/>
    <dgm:cxn modelId="{BC8010AD-38D8-4683-971B-60C46FC84AEE}" type="presParOf" srcId="{ABB4403F-2E53-4459-B469-D49468348AEF}" destId="{59D142E6-1056-4910-B630-1962A3C80802}" srcOrd="9" destOrd="0" presId="urn:microsoft.com/office/officeart/2005/8/layout/list1"/>
    <dgm:cxn modelId="{BAD1F6AC-8D95-45AE-8FC8-F8ECC67187DB}" type="presParOf" srcId="{ABB4403F-2E53-4459-B469-D49468348AEF}" destId="{BD915448-77D5-4750-AAEC-99386E6D8174}" srcOrd="10" destOrd="0" presId="urn:microsoft.com/office/officeart/2005/8/layout/list1"/>
    <dgm:cxn modelId="{A2F9487E-81FB-42CE-9E0A-27DC4C109876}" type="presParOf" srcId="{ABB4403F-2E53-4459-B469-D49468348AEF}" destId="{BCB4B0C8-F27E-4132-93A4-77A8FF9A731B}" srcOrd="11" destOrd="0" presId="urn:microsoft.com/office/officeart/2005/8/layout/list1"/>
    <dgm:cxn modelId="{5ED003F3-238D-4554-84F8-191CA6760848}" type="presParOf" srcId="{ABB4403F-2E53-4459-B469-D49468348AEF}" destId="{D842383F-67E9-4F18-9C6D-23C7D1C0D485}" srcOrd="12" destOrd="0" presId="urn:microsoft.com/office/officeart/2005/8/layout/list1"/>
    <dgm:cxn modelId="{37AB924F-5B49-4D29-909A-E9EC290103A9}" type="presParOf" srcId="{D842383F-67E9-4F18-9C6D-23C7D1C0D485}" destId="{3C20CA6F-3B6B-4E29-8CEE-ECD37EAFA50E}" srcOrd="0" destOrd="0" presId="urn:microsoft.com/office/officeart/2005/8/layout/list1"/>
    <dgm:cxn modelId="{D1B7C289-E2FC-4558-93E0-6C75AA1ED833}" type="presParOf" srcId="{D842383F-67E9-4F18-9C6D-23C7D1C0D485}" destId="{2226013F-E76F-428E-87BF-64E89F42B779}" srcOrd="1" destOrd="0" presId="urn:microsoft.com/office/officeart/2005/8/layout/list1"/>
    <dgm:cxn modelId="{A3AF3A9B-60BC-45B2-90A5-54887175D3E5}" type="presParOf" srcId="{ABB4403F-2E53-4459-B469-D49468348AEF}" destId="{6D44EC2F-3DFC-4D81-8CB5-AF589650D797}" srcOrd="13" destOrd="0" presId="urn:microsoft.com/office/officeart/2005/8/layout/list1"/>
    <dgm:cxn modelId="{E0CDBE1A-4D96-4123-9BED-339661439E3E}" type="presParOf" srcId="{ABB4403F-2E53-4459-B469-D49468348AEF}" destId="{2CCF1C83-6BEB-42E1-8332-20D415339329}" srcOrd="14" destOrd="0" presId="urn:microsoft.com/office/officeart/2005/8/layout/list1"/>
    <dgm:cxn modelId="{41652A59-CF87-47E9-A440-3222F25C6898}" type="presParOf" srcId="{ABB4403F-2E53-4459-B469-D49468348AEF}" destId="{893EA092-D927-4721-A150-0A61B658E1F5}" srcOrd="15" destOrd="0" presId="urn:microsoft.com/office/officeart/2005/8/layout/list1"/>
    <dgm:cxn modelId="{038612F1-B17F-4630-93D0-34A0D8928745}" type="presParOf" srcId="{ABB4403F-2E53-4459-B469-D49468348AEF}" destId="{492C6CF7-0221-4568-9D3A-B958118B3009}" srcOrd="16" destOrd="0" presId="urn:microsoft.com/office/officeart/2005/8/layout/list1"/>
    <dgm:cxn modelId="{B5AF5ABB-F0C6-4E12-9D3D-4ECED8C01FB3}" type="presParOf" srcId="{492C6CF7-0221-4568-9D3A-B958118B3009}" destId="{4459EBFB-8180-4D91-9FFB-E7CADE9569B4}" srcOrd="0" destOrd="0" presId="urn:microsoft.com/office/officeart/2005/8/layout/list1"/>
    <dgm:cxn modelId="{22D8ADEC-8DA2-4624-8B23-A698223FEDF2}" type="presParOf" srcId="{492C6CF7-0221-4568-9D3A-B958118B3009}" destId="{F814619A-0CB1-4FFE-9646-FAF0B6FB1FA8}" srcOrd="1" destOrd="0" presId="urn:microsoft.com/office/officeart/2005/8/layout/list1"/>
    <dgm:cxn modelId="{F4E78B4A-2B18-481F-A330-36AA974BD450}" type="presParOf" srcId="{ABB4403F-2E53-4459-B469-D49468348AEF}" destId="{02D76243-0D1C-4FC6-9CFC-A15CAE18AEC3}" srcOrd="17" destOrd="0" presId="urn:microsoft.com/office/officeart/2005/8/layout/list1"/>
    <dgm:cxn modelId="{C54A48D2-794A-40E6-B301-EE75E9CBA2B8}" type="presParOf" srcId="{ABB4403F-2E53-4459-B469-D49468348AEF}" destId="{1DBE8B4B-C1A5-44FB-9B39-4CCE6DD74DFA}"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BC7AC8-4466-47E0-B683-BEF4B6B6A2E0}">
      <dsp:nvSpPr>
        <dsp:cNvPr id="0" name=""/>
        <dsp:cNvSpPr/>
      </dsp:nvSpPr>
      <dsp:spPr>
        <a:xfrm>
          <a:off x="0" y="374089"/>
          <a:ext cx="8544193" cy="428400"/>
        </a:xfrm>
        <a:prstGeom prst="rect">
          <a:avLst/>
        </a:prstGeom>
        <a:solidFill>
          <a:schemeClr val="lt1">
            <a:alpha val="90000"/>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3D1B32-081C-4A87-8C66-F0BF5F228CCB}">
      <dsp:nvSpPr>
        <dsp:cNvPr id="0" name=""/>
        <dsp:cNvSpPr/>
      </dsp:nvSpPr>
      <dsp:spPr>
        <a:xfrm>
          <a:off x="427209" y="123169"/>
          <a:ext cx="5980935" cy="501840"/>
        </a:xfrm>
        <a:prstGeom prst="roundRect">
          <a:avLst/>
        </a:prstGeom>
        <a:solidFill>
          <a:schemeClr val="accent2">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6065" tIns="0" rIns="226065" bIns="0" numCol="1" spcCol="1270" anchor="ctr" anchorCtr="0">
          <a:noAutofit/>
        </a:bodyPr>
        <a:lstStyle/>
        <a:p>
          <a:pPr lvl="0" algn="l" defTabSz="755650">
            <a:lnSpc>
              <a:spcPct val="90000"/>
            </a:lnSpc>
            <a:spcBef>
              <a:spcPct val="0"/>
            </a:spcBef>
            <a:spcAft>
              <a:spcPct val="35000"/>
            </a:spcAft>
          </a:pPr>
          <a:r>
            <a:rPr lang="en-US" sz="1700" kern="1200" dirty="0" smtClean="0"/>
            <a:t>Data Summary</a:t>
          </a:r>
          <a:endParaRPr lang="en-US" sz="1700" kern="1200" dirty="0"/>
        </a:p>
      </dsp:txBody>
      <dsp:txXfrm>
        <a:off x="451707" y="147667"/>
        <a:ext cx="5931939" cy="452844"/>
      </dsp:txXfrm>
    </dsp:sp>
    <dsp:sp modelId="{4D859E41-FC1C-4232-819F-25F0F3EA722B}">
      <dsp:nvSpPr>
        <dsp:cNvPr id="0" name=""/>
        <dsp:cNvSpPr/>
      </dsp:nvSpPr>
      <dsp:spPr>
        <a:xfrm>
          <a:off x="0" y="1145209"/>
          <a:ext cx="8544193" cy="428400"/>
        </a:xfrm>
        <a:prstGeom prst="rect">
          <a:avLst/>
        </a:prstGeom>
        <a:solidFill>
          <a:schemeClr val="lt1">
            <a:alpha val="90000"/>
            <a:hueOff val="0"/>
            <a:satOff val="0"/>
            <a:lumOff val="0"/>
            <a:alphaOff val="0"/>
          </a:schemeClr>
        </a:solidFill>
        <a:ln w="15875" cap="rnd" cmpd="sng" algn="ctr">
          <a:solidFill>
            <a:schemeClr val="accent2">
              <a:hueOff val="-2188608"/>
              <a:satOff val="-1975"/>
              <a:lumOff val="-440"/>
              <a:alphaOff val="0"/>
            </a:schemeClr>
          </a:solidFill>
          <a:prstDash val="solid"/>
        </a:ln>
        <a:effectLst/>
      </dsp:spPr>
      <dsp:style>
        <a:lnRef idx="2">
          <a:scrgbClr r="0" g="0" b="0"/>
        </a:lnRef>
        <a:fillRef idx="1">
          <a:scrgbClr r="0" g="0" b="0"/>
        </a:fillRef>
        <a:effectRef idx="0">
          <a:scrgbClr r="0" g="0" b="0"/>
        </a:effectRef>
        <a:fontRef idx="minor"/>
      </dsp:style>
    </dsp:sp>
    <dsp:sp modelId="{0437770C-E8B3-46EE-A990-2BCE14CD9664}">
      <dsp:nvSpPr>
        <dsp:cNvPr id="0" name=""/>
        <dsp:cNvSpPr/>
      </dsp:nvSpPr>
      <dsp:spPr>
        <a:xfrm>
          <a:off x="427209" y="894289"/>
          <a:ext cx="5980935" cy="501840"/>
        </a:xfrm>
        <a:prstGeom prst="roundRect">
          <a:avLst/>
        </a:prstGeom>
        <a:solidFill>
          <a:schemeClr val="accent2">
            <a:hueOff val="-2188608"/>
            <a:satOff val="-1975"/>
            <a:lumOff val="-44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6065" tIns="0" rIns="226065" bIns="0" numCol="1" spcCol="1270" anchor="ctr" anchorCtr="0">
          <a:noAutofit/>
        </a:bodyPr>
        <a:lstStyle/>
        <a:p>
          <a:pPr lvl="0" algn="l" defTabSz="755650">
            <a:lnSpc>
              <a:spcPct val="90000"/>
            </a:lnSpc>
            <a:spcBef>
              <a:spcPct val="0"/>
            </a:spcBef>
            <a:spcAft>
              <a:spcPct val="35000"/>
            </a:spcAft>
          </a:pPr>
          <a:r>
            <a:rPr lang="en-US" sz="1700" kern="1200" dirty="0" smtClean="0"/>
            <a:t>Purpose Of Statement(What are we talking about)</a:t>
          </a:r>
          <a:endParaRPr lang="en-US" sz="1700" kern="1200" dirty="0"/>
        </a:p>
      </dsp:txBody>
      <dsp:txXfrm>
        <a:off x="451707" y="918787"/>
        <a:ext cx="5931939" cy="452844"/>
      </dsp:txXfrm>
    </dsp:sp>
    <dsp:sp modelId="{BD915448-77D5-4750-AAEC-99386E6D8174}">
      <dsp:nvSpPr>
        <dsp:cNvPr id="0" name=""/>
        <dsp:cNvSpPr/>
      </dsp:nvSpPr>
      <dsp:spPr>
        <a:xfrm>
          <a:off x="0" y="1916330"/>
          <a:ext cx="8544193" cy="428400"/>
        </a:xfrm>
        <a:prstGeom prst="rect">
          <a:avLst/>
        </a:prstGeom>
        <a:solidFill>
          <a:schemeClr val="lt1">
            <a:alpha val="90000"/>
            <a:hueOff val="0"/>
            <a:satOff val="0"/>
            <a:lumOff val="0"/>
            <a:alphaOff val="0"/>
          </a:schemeClr>
        </a:solidFill>
        <a:ln w="15875" cap="rnd" cmpd="sng" algn="ctr">
          <a:solidFill>
            <a:schemeClr val="accent2">
              <a:hueOff val="-4377215"/>
              <a:satOff val="-3950"/>
              <a:lumOff val="-881"/>
              <a:alphaOff val="0"/>
            </a:schemeClr>
          </a:solidFill>
          <a:prstDash val="solid"/>
        </a:ln>
        <a:effectLst/>
      </dsp:spPr>
      <dsp:style>
        <a:lnRef idx="2">
          <a:scrgbClr r="0" g="0" b="0"/>
        </a:lnRef>
        <a:fillRef idx="1">
          <a:scrgbClr r="0" g="0" b="0"/>
        </a:fillRef>
        <a:effectRef idx="0">
          <a:scrgbClr r="0" g="0" b="0"/>
        </a:effectRef>
        <a:fontRef idx="minor"/>
      </dsp:style>
    </dsp:sp>
    <dsp:sp modelId="{3851AD03-1780-4E62-B002-6EB7CD6D6DC3}">
      <dsp:nvSpPr>
        <dsp:cNvPr id="0" name=""/>
        <dsp:cNvSpPr/>
      </dsp:nvSpPr>
      <dsp:spPr>
        <a:xfrm>
          <a:off x="427209" y="1665409"/>
          <a:ext cx="5980935" cy="501840"/>
        </a:xfrm>
        <a:prstGeom prst="roundRect">
          <a:avLst/>
        </a:prstGeom>
        <a:solidFill>
          <a:schemeClr val="accent2">
            <a:hueOff val="-4377215"/>
            <a:satOff val="-3950"/>
            <a:lumOff val="-881"/>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6065" tIns="0" rIns="226065" bIns="0" numCol="1" spcCol="1270" anchor="ctr" anchorCtr="0">
          <a:noAutofit/>
        </a:bodyPr>
        <a:lstStyle/>
        <a:p>
          <a:pPr lvl="0" algn="l" defTabSz="755650">
            <a:lnSpc>
              <a:spcPct val="90000"/>
            </a:lnSpc>
            <a:spcBef>
              <a:spcPct val="0"/>
            </a:spcBef>
            <a:spcAft>
              <a:spcPct val="35000"/>
            </a:spcAft>
          </a:pPr>
          <a:r>
            <a:rPr lang="en-US" sz="1700" kern="1200" dirty="0" smtClean="0"/>
            <a:t>Tell  Story(With Data)</a:t>
          </a:r>
          <a:endParaRPr lang="en-US" sz="1700" kern="1200" dirty="0"/>
        </a:p>
      </dsp:txBody>
      <dsp:txXfrm>
        <a:off x="451707" y="1689907"/>
        <a:ext cx="5931939" cy="452844"/>
      </dsp:txXfrm>
    </dsp:sp>
    <dsp:sp modelId="{2CCF1C83-6BEB-42E1-8332-20D415339329}">
      <dsp:nvSpPr>
        <dsp:cNvPr id="0" name=""/>
        <dsp:cNvSpPr/>
      </dsp:nvSpPr>
      <dsp:spPr>
        <a:xfrm>
          <a:off x="0" y="2687450"/>
          <a:ext cx="8544193" cy="428400"/>
        </a:xfrm>
        <a:prstGeom prst="rect">
          <a:avLst/>
        </a:prstGeom>
        <a:solidFill>
          <a:schemeClr val="lt1">
            <a:alpha val="90000"/>
            <a:hueOff val="0"/>
            <a:satOff val="0"/>
            <a:lumOff val="0"/>
            <a:alphaOff val="0"/>
          </a:schemeClr>
        </a:solidFill>
        <a:ln w="15875" cap="rnd" cmpd="sng" algn="ctr">
          <a:solidFill>
            <a:schemeClr val="accent2">
              <a:hueOff val="-6565823"/>
              <a:satOff val="-5925"/>
              <a:lumOff val="-1321"/>
              <a:alphaOff val="0"/>
            </a:schemeClr>
          </a:solidFill>
          <a:prstDash val="solid"/>
        </a:ln>
        <a:effectLst/>
      </dsp:spPr>
      <dsp:style>
        <a:lnRef idx="2">
          <a:scrgbClr r="0" g="0" b="0"/>
        </a:lnRef>
        <a:fillRef idx="1">
          <a:scrgbClr r="0" g="0" b="0"/>
        </a:fillRef>
        <a:effectRef idx="0">
          <a:scrgbClr r="0" g="0" b="0"/>
        </a:effectRef>
        <a:fontRef idx="minor"/>
      </dsp:style>
    </dsp:sp>
    <dsp:sp modelId="{2226013F-E76F-428E-87BF-64E89F42B779}">
      <dsp:nvSpPr>
        <dsp:cNvPr id="0" name=""/>
        <dsp:cNvSpPr/>
      </dsp:nvSpPr>
      <dsp:spPr>
        <a:xfrm>
          <a:off x="427209" y="2436530"/>
          <a:ext cx="5980935" cy="501840"/>
        </a:xfrm>
        <a:prstGeom prst="roundRect">
          <a:avLst/>
        </a:prstGeom>
        <a:solidFill>
          <a:schemeClr val="accent2">
            <a:hueOff val="-6565823"/>
            <a:satOff val="-5925"/>
            <a:lumOff val="-1321"/>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6065" tIns="0" rIns="226065" bIns="0" numCol="1" spcCol="1270" anchor="ctr" anchorCtr="0">
          <a:noAutofit/>
        </a:bodyPr>
        <a:lstStyle/>
        <a:p>
          <a:pPr lvl="0" algn="l" defTabSz="755650">
            <a:lnSpc>
              <a:spcPct val="90000"/>
            </a:lnSpc>
            <a:spcBef>
              <a:spcPct val="0"/>
            </a:spcBef>
            <a:spcAft>
              <a:spcPct val="35000"/>
            </a:spcAft>
          </a:pPr>
          <a:r>
            <a:rPr lang="en-US" sz="1700" kern="1200" dirty="0" smtClean="0"/>
            <a:t>Conclusion</a:t>
          </a:r>
          <a:endParaRPr lang="en-US" sz="1700" kern="1200" dirty="0"/>
        </a:p>
      </dsp:txBody>
      <dsp:txXfrm>
        <a:off x="451707" y="2461028"/>
        <a:ext cx="5931939" cy="452844"/>
      </dsp:txXfrm>
    </dsp:sp>
    <dsp:sp modelId="{1DBE8B4B-C1A5-44FB-9B39-4CCE6DD74DFA}">
      <dsp:nvSpPr>
        <dsp:cNvPr id="0" name=""/>
        <dsp:cNvSpPr/>
      </dsp:nvSpPr>
      <dsp:spPr>
        <a:xfrm>
          <a:off x="0" y="3458570"/>
          <a:ext cx="8544193" cy="428400"/>
        </a:xfrm>
        <a:prstGeom prst="rect">
          <a:avLst/>
        </a:prstGeom>
        <a:solidFill>
          <a:schemeClr val="lt1">
            <a:alpha val="90000"/>
            <a:hueOff val="0"/>
            <a:satOff val="0"/>
            <a:lumOff val="0"/>
            <a:alphaOff val="0"/>
          </a:schemeClr>
        </a:solidFill>
        <a:ln w="15875" cap="rnd" cmpd="sng" algn="ctr">
          <a:solidFill>
            <a:schemeClr val="accent2">
              <a:hueOff val="-8754431"/>
              <a:satOff val="-7900"/>
              <a:lumOff val="-1762"/>
              <a:alphaOff val="0"/>
            </a:schemeClr>
          </a:solidFill>
          <a:prstDash val="solid"/>
        </a:ln>
        <a:effectLst/>
      </dsp:spPr>
      <dsp:style>
        <a:lnRef idx="2">
          <a:scrgbClr r="0" g="0" b="0"/>
        </a:lnRef>
        <a:fillRef idx="1">
          <a:scrgbClr r="0" g="0" b="0"/>
        </a:fillRef>
        <a:effectRef idx="0">
          <a:scrgbClr r="0" g="0" b="0"/>
        </a:effectRef>
        <a:fontRef idx="minor"/>
      </dsp:style>
    </dsp:sp>
    <dsp:sp modelId="{F814619A-0CB1-4FFE-9646-FAF0B6FB1FA8}">
      <dsp:nvSpPr>
        <dsp:cNvPr id="0" name=""/>
        <dsp:cNvSpPr/>
      </dsp:nvSpPr>
      <dsp:spPr>
        <a:xfrm>
          <a:off x="427209" y="3207650"/>
          <a:ext cx="5980935" cy="501840"/>
        </a:xfrm>
        <a:prstGeom prst="roundRect">
          <a:avLst/>
        </a:prstGeom>
        <a:solidFill>
          <a:schemeClr val="accent2">
            <a:hueOff val="-8754431"/>
            <a:satOff val="-7900"/>
            <a:lumOff val="-1762"/>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6065" tIns="0" rIns="226065" bIns="0" numCol="1" spcCol="1270" anchor="ctr" anchorCtr="0">
          <a:noAutofit/>
        </a:bodyPr>
        <a:lstStyle/>
        <a:p>
          <a:pPr lvl="0" algn="l" defTabSz="755650">
            <a:lnSpc>
              <a:spcPct val="90000"/>
            </a:lnSpc>
            <a:spcBef>
              <a:spcPct val="0"/>
            </a:spcBef>
            <a:spcAft>
              <a:spcPct val="35000"/>
            </a:spcAft>
          </a:pPr>
          <a:r>
            <a:rPr lang="en-US" sz="1700" kern="1200" dirty="0" smtClean="0"/>
            <a:t>Appendix</a:t>
          </a:r>
          <a:endParaRPr lang="en-US" sz="1700" kern="1200" dirty="0"/>
        </a:p>
      </dsp:txBody>
      <dsp:txXfrm>
        <a:off x="451707" y="3232148"/>
        <a:ext cx="5931939"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42FF2A-6BE8-4778-AE76-5C7C3709E663}" type="datetimeFigureOut">
              <a:rPr lang="en-US" smtClean="0"/>
              <a:t>30-Jan-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3FF13D-5B6A-4E9D-84F7-78AAA63023F1}" type="slidenum">
              <a:rPr lang="en-US" smtClean="0"/>
              <a:t>‹#›</a:t>
            </a:fld>
            <a:endParaRPr lang="en-US"/>
          </a:p>
        </p:txBody>
      </p:sp>
    </p:spTree>
    <p:extLst>
      <p:ext uri="{BB962C8B-B14F-4D97-AF65-F5344CB8AC3E}">
        <p14:creationId xmlns:p14="http://schemas.microsoft.com/office/powerpoint/2010/main" val="3312877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3FF13D-5B6A-4E9D-84F7-78AAA63023F1}" type="slidenum">
              <a:rPr lang="en-US" smtClean="0"/>
              <a:t>1</a:t>
            </a:fld>
            <a:endParaRPr lang="en-US"/>
          </a:p>
        </p:txBody>
      </p:sp>
    </p:spTree>
    <p:extLst>
      <p:ext uri="{BB962C8B-B14F-4D97-AF65-F5344CB8AC3E}">
        <p14:creationId xmlns:p14="http://schemas.microsoft.com/office/powerpoint/2010/main" val="1355551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3FF13D-5B6A-4E9D-84F7-78AAA63023F1}" type="slidenum">
              <a:rPr lang="en-US" smtClean="0"/>
              <a:t>2</a:t>
            </a:fld>
            <a:endParaRPr lang="en-US"/>
          </a:p>
        </p:txBody>
      </p:sp>
    </p:spTree>
    <p:extLst>
      <p:ext uri="{BB962C8B-B14F-4D97-AF65-F5344CB8AC3E}">
        <p14:creationId xmlns:p14="http://schemas.microsoft.com/office/powerpoint/2010/main" val="1661470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A3FF13D-5B6A-4E9D-84F7-78AAA63023F1}" type="slidenum">
              <a:rPr lang="en-US" smtClean="0"/>
              <a:t>9</a:t>
            </a:fld>
            <a:endParaRPr lang="en-US"/>
          </a:p>
        </p:txBody>
      </p:sp>
    </p:spTree>
    <p:extLst>
      <p:ext uri="{BB962C8B-B14F-4D97-AF65-F5344CB8AC3E}">
        <p14:creationId xmlns:p14="http://schemas.microsoft.com/office/powerpoint/2010/main" val="6807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51090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Date Placeholder 2"/>
          <p:cNvSpPr>
            <a:spLocks noGrp="1"/>
          </p:cNvSpPr>
          <p:nvPr>
            <p:ph type="dt" sz="half" idx="10"/>
          </p:nvPr>
        </p:nvSpPr>
        <p:spPr/>
        <p:txBody>
          <a:bodyPr/>
          <a:lstStyle/>
          <a:p>
            <a:fld id="{A86F7843-9336-4889-8CCF-2230FCE2C458}" type="datetimeFigureOut">
              <a:rPr lang="en-US" smtClean="0"/>
              <a:t>30-Jan-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1993651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38231515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28888846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39581085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smtClean="0"/>
              <a:t>Click to edit Master text styles</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1080268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smtClean="0"/>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smtClean="0"/>
              <a:t>Click to edit Master text styles</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1566251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4027567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856921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1066685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6F7843-9336-4889-8CCF-2230FCE2C458}" type="datetimeFigureOut">
              <a:rPr lang="en-US" smtClean="0"/>
              <a:t>30-Jan-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3401077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A86F7843-9336-4889-8CCF-2230FCE2C458}" type="datetimeFigureOut">
              <a:rPr lang="en-US" smtClean="0"/>
              <a:t>30-Ja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2151755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A86F7843-9336-4889-8CCF-2230FCE2C458}" type="datetimeFigureOut">
              <a:rPr lang="en-US" smtClean="0"/>
              <a:t>30-Jan-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2361241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86F7843-9336-4889-8CCF-2230FCE2C458}" type="datetimeFigureOut">
              <a:rPr lang="en-US" smtClean="0"/>
              <a:t>30-Jan-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4018473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6F7843-9336-4889-8CCF-2230FCE2C458}" type="datetimeFigureOut">
              <a:rPr lang="en-US" smtClean="0"/>
              <a:t>30-Jan-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2843992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6F7843-9336-4889-8CCF-2230FCE2C458}" type="datetimeFigureOut">
              <a:rPr lang="en-US" smtClean="0"/>
              <a:t>30-Ja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1258492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smtClean="0"/>
              <a:t>Click to edit Master title style</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6F7843-9336-4889-8CCF-2230FCE2C458}" type="datetimeFigureOut">
              <a:rPr lang="en-US" smtClean="0"/>
              <a:t>30-Jan-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C7129C-7C44-45F1-A2F1-65AF3C8148DD}" type="slidenum">
              <a:rPr lang="en-US" smtClean="0"/>
              <a:t>‹#›</a:t>
            </a:fld>
            <a:endParaRPr lang="en-US"/>
          </a:p>
        </p:txBody>
      </p:sp>
    </p:spTree>
    <p:extLst>
      <p:ext uri="{BB962C8B-B14F-4D97-AF65-F5344CB8AC3E}">
        <p14:creationId xmlns:p14="http://schemas.microsoft.com/office/powerpoint/2010/main" val="3775356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A86F7843-9336-4889-8CCF-2230FCE2C458}" type="datetimeFigureOut">
              <a:rPr lang="en-US" smtClean="0"/>
              <a:t>30-Jan-22</a:t>
            </a:fld>
            <a:endParaRPr lang="en-US"/>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69C7129C-7C44-45F1-A2F1-65AF3C8148DD}" type="slidenum">
              <a:rPr lang="en-US" smtClean="0"/>
              <a:t>‹#›</a:t>
            </a:fld>
            <a:endParaRPr lang="en-US"/>
          </a:p>
        </p:txBody>
      </p:sp>
    </p:spTree>
    <p:extLst>
      <p:ext uri="{BB962C8B-B14F-4D97-AF65-F5344CB8AC3E}">
        <p14:creationId xmlns:p14="http://schemas.microsoft.com/office/powerpoint/2010/main" val="87483116"/>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comments" Target="../comments/commen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5618602"/>
            <a:ext cx="12192001" cy="1239398"/>
          </a:xfrm>
        </p:spPr>
        <p:txBody>
          <a:bodyPr>
            <a:normAutofit lnSpcReduction="10000"/>
          </a:bodyPr>
          <a:lstStyle/>
          <a:p>
            <a:pPr algn="l"/>
            <a:r>
              <a:rPr lang="en-US" b="1" dirty="0" smtClean="0">
                <a:solidFill>
                  <a:schemeClr val="tx1"/>
                </a:solidFill>
              </a:rPr>
              <a:t>HARRY POTTER MOVIE SCRIPT </a:t>
            </a:r>
          </a:p>
          <a:p>
            <a:pPr algn="l"/>
            <a:r>
              <a:rPr lang="en-US" b="1" dirty="0" smtClean="0">
                <a:solidFill>
                  <a:schemeClr val="tx1"/>
                </a:solidFill>
              </a:rPr>
              <a:t>Presented by : Nirmal Joy</a:t>
            </a:r>
          </a:p>
          <a:p>
            <a:pPr algn="l"/>
            <a:r>
              <a:rPr lang="en-US" b="1" dirty="0" smtClean="0">
                <a:solidFill>
                  <a:schemeClr val="tx1"/>
                </a:solidFill>
              </a:rPr>
              <a:t>Last updated : January 29 2022</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
            <a:ext cx="12191999" cy="5618600"/>
          </a:xfrm>
          <a:prstGeom prst="rect">
            <a:avLst/>
          </a:prstGeom>
        </p:spPr>
      </p:pic>
    </p:spTree>
    <p:extLst>
      <p:ext uri="{BB962C8B-B14F-4D97-AF65-F5344CB8AC3E}">
        <p14:creationId xmlns:p14="http://schemas.microsoft.com/office/powerpoint/2010/main" val="7015276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521" y="0"/>
            <a:ext cx="6014043" cy="541050"/>
          </a:xfrm>
        </p:spPr>
        <p:txBody>
          <a:bodyPr>
            <a:normAutofit fontScale="90000"/>
          </a:bodyPr>
          <a:lstStyle/>
          <a:p>
            <a:r>
              <a:rPr lang="en-US" b="1" u="sng" dirty="0" smtClean="0"/>
              <a:t>Movie , Chapter ,dialogue</a:t>
            </a:r>
            <a:endParaRPr lang="en-US" b="1" u="sng" dirty="0"/>
          </a:p>
        </p:txBody>
      </p:sp>
      <p:pic>
        <p:nvPicPr>
          <p:cNvPr id="10" name="Content Placeholder 9"/>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16059" y="541049"/>
            <a:ext cx="6275942" cy="4427557"/>
          </a:xfrm>
        </p:spPr>
      </p:pic>
    </p:spTree>
    <p:extLst>
      <p:ext uri="{BB962C8B-B14F-4D97-AF65-F5344CB8AC3E}">
        <p14:creationId xmlns:p14="http://schemas.microsoft.com/office/powerpoint/2010/main" val="5107705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9"/>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42362" y="685799"/>
            <a:ext cx="8934680" cy="5549747"/>
          </a:xfrm>
        </p:spPr>
      </p:pic>
    </p:spTree>
    <p:extLst>
      <p:ext uri="{BB962C8B-B14F-4D97-AF65-F5344CB8AC3E}">
        <p14:creationId xmlns:p14="http://schemas.microsoft.com/office/powerpoint/2010/main" val="3004241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521" y="0"/>
            <a:ext cx="6014043" cy="541050"/>
          </a:xfrm>
        </p:spPr>
        <p:txBody>
          <a:bodyPr>
            <a:normAutofit fontScale="90000"/>
          </a:bodyPr>
          <a:lstStyle/>
          <a:p>
            <a:r>
              <a:rPr lang="en-US" b="1" u="sng" dirty="0" smtClean="0"/>
              <a:t>Movie , Chapter ,dialogue</a:t>
            </a:r>
            <a:endParaRPr lang="en-US" b="1" u="sng" dirty="0"/>
          </a:p>
        </p:txBody>
      </p:sp>
      <p:pic>
        <p:nvPicPr>
          <p:cNvPr id="10" name="Content Placeholder 9"/>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16059" y="541049"/>
            <a:ext cx="6275942" cy="4427557"/>
          </a:xfrm>
        </p:spPr>
      </p:pic>
      <p:sp>
        <p:nvSpPr>
          <p:cNvPr id="11" name="TextBox 10"/>
          <p:cNvSpPr txBox="1"/>
          <p:nvPr/>
        </p:nvSpPr>
        <p:spPr>
          <a:xfrm>
            <a:off x="232521" y="1370939"/>
            <a:ext cx="5683538" cy="923330"/>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b="1" dirty="0" smtClean="0">
                <a:latin typeface="+mj-lt"/>
                <a:cs typeface="Calibri" panose="020F0502020204030204" pitchFamily="34" charset="0"/>
              </a:rPr>
              <a:t>Harry potter and the Chambers of Secret</a:t>
            </a:r>
            <a:r>
              <a:rPr lang="en-US" dirty="0" smtClean="0">
                <a:latin typeface="+mj-lt"/>
                <a:cs typeface="Calibri" panose="020F0502020204030204" pitchFamily="34" charset="0"/>
              </a:rPr>
              <a:t> Movie has the most number of Chapters In this Series</a:t>
            </a:r>
          </a:p>
          <a:p>
            <a:r>
              <a:rPr lang="en-US" dirty="0" smtClean="0">
                <a:latin typeface="+mj-lt"/>
                <a:cs typeface="Calibri" panose="020F0502020204030204" pitchFamily="34" charset="0"/>
              </a:rPr>
              <a:t>And it is </a:t>
            </a:r>
            <a:r>
              <a:rPr lang="en-US" b="1" dirty="0" smtClean="0">
                <a:latin typeface="+mj-lt"/>
                <a:cs typeface="Calibri" panose="020F0502020204030204" pitchFamily="34" charset="0"/>
              </a:rPr>
              <a:t>the longest movie </a:t>
            </a:r>
            <a:endParaRPr lang="en-US" b="1" dirty="0">
              <a:latin typeface="+mj-lt"/>
            </a:endParaRPr>
          </a:p>
        </p:txBody>
      </p:sp>
      <p:sp>
        <p:nvSpPr>
          <p:cNvPr id="12" name="TextBox 11"/>
          <p:cNvSpPr txBox="1"/>
          <p:nvPr/>
        </p:nvSpPr>
        <p:spPr>
          <a:xfrm>
            <a:off x="232520" y="2570161"/>
            <a:ext cx="5606419" cy="923330"/>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dirty="0" smtClean="0">
                <a:latin typeface="+mj-lt"/>
                <a:cs typeface="Calibri" panose="020F0502020204030204" pitchFamily="34" charset="0"/>
              </a:rPr>
              <a:t>In this dataset </a:t>
            </a:r>
            <a:r>
              <a:rPr lang="en-US" b="1" dirty="0" smtClean="0">
                <a:latin typeface="+mj-lt"/>
              </a:rPr>
              <a:t>7,444 </a:t>
            </a:r>
            <a:r>
              <a:rPr lang="en-US" b="1" dirty="0">
                <a:latin typeface="+mj-lt"/>
              </a:rPr>
              <a:t>lines of dialogue from the 8 Harry Potter movie scripts. </a:t>
            </a:r>
            <a:endParaRPr lang="en-US" dirty="0">
              <a:latin typeface="+mj-lt"/>
            </a:endParaRPr>
          </a:p>
          <a:p>
            <a:endParaRPr lang="en-US" dirty="0"/>
          </a:p>
        </p:txBody>
      </p:sp>
      <p:sp>
        <p:nvSpPr>
          <p:cNvPr id="3" name="TextBox 2"/>
          <p:cNvSpPr txBox="1"/>
          <p:nvPr/>
        </p:nvSpPr>
        <p:spPr>
          <a:xfrm>
            <a:off x="232520" y="3723701"/>
            <a:ext cx="5683539" cy="646331"/>
          </a:xfrm>
          <a:prstGeom prst="rect">
            <a:avLst/>
          </a:prstGeom>
          <a:noFill/>
        </p:spPr>
        <p:txBody>
          <a:bodyPr wrap="square" rtlCol="0">
            <a:spAutoFit/>
          </a:bodyPr>
          <a:lstStyle/>
          <a:p>
            <a:r>
              <a:rPr lang="en-US" b="1" dirty="0" smtClean="0">
                <a:latin typeface="Calibri" panose="020F0502020204030204" pitchFamily="34" charset="0"/>
                <a:cs typeface="Calibri" panose="020F0502020204030204" pitchFamily="34" charset="0"/>
              </a:rPr>
              <a:t>→</a:t>
            </a:r>
            <a:r>
              <a:rPr lang="en-US" b="1" dirty="0" smtClean="0"/>
              <a:t>Harry potter and the order of the Phoenix has the highest number of dialogue</a:t>
            </a:r>
            <a:endParaRPr lang="en-US" b="1" dirty="0"/>
          </a:p>
        </p:txBody>
      </p:sp>
    </p:spTree>
    <p:extLst>
      <p:ext uri="{BB962C8B-B14F-4D97-AF65-F5344CB8AC3E}">
        <p14:creationId xmlns:p14="http://schemas.microsoft.com/office/powerpoint/2010/main" val="1823431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circle(in)">
                                      <p:cBhvr>
                                        <p:cTn id="12" dur="2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circle(in)">
                                      <p:cBhvr>
                                        <p:cTn id="1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503" y="-253387"/>
            <a:ext cx="6443701" cy="849522"/>
          </a:xfrm>
        </p:spPr>
        <p:txBody>
          <a:bodyPr/>
          <a:lstStyle/>
          <a:p>
            <a:r>
              <a:rPr lang="en-US" b="1" u="sng" dirty="0" smtClean="0"/>
              <a:t>Most popular character</a:t>
            </a:r>
            <a:endParaRPr lang="en-US" b="1"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422833" y="441898"/>
            <a:ext cx="5686203" cy="4482641"/>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630" y="761828"/>
            <a:ext cx="1653919" cy="2168659"/>
          </a:xfrm>
          <a:prstGeom prst="rect">
            <a:avLst/>
          </a:prstGeom>
        </p:spPr>
      </p:pic>
      <p:sp>
        <p:nvSpPr>
          <p:cNvPr id="7" name="TextBox 6"/>
          <p:cNvSpPr txBox="1"/>
          <p:nvPr/>
        </p:nvSpPr>
        <p:spPr>
          <a:xfrm>
            <a:off x="176269" y="3162721"/>
            <a:ext cx="6091162" cy="923330"/>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dirty="0" smtClean="0"/>
              <a:t>Harry </a:t>
            </a:r>
            <a:r>
              <a:rPr lang="en-US" dirty="0"/>
              <a:t>James Potter is a fictional character and the titular protagonist in J. K. Rowling's series of </a:t>
            </a:r>
            <a:r>
              <a:rPr lang="en-US" dirty="0" smtClean="0"/>
              <a:t>Harry potter Movies</a:t>
            </a:r>
            <a:endParaRPr lang="en-US" dirty="0"/>
          </a:p>
        </p:txBody>
      </p:sp>
      <p:sp>
        <p:nvSpPr>
          <p:cNvPr id="8" name="TextBox 7"/>
          <p:cNvSpPr txBox="1"/>
          <p:nvPr/>
        </p:nvSpPr>
        <p:spPr>
          <a:xfrm>
            <a:off x="176269" y="4185203"/>
            <a:ext cx="6136396" cy="923330"/>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dirty="0" smtClean="0">
                <a:latin typeface="+mj-lt"/>
                <a:cs typeface="Calibri" panose="020F0502020204030204" pitchFamily="34" charset="0"/>
              </a:rPr>
              <a:t>Harry potter Is the Most popular Character that he has the  Most number of Dialogues and used most number of Spell </a:t>
            </a:r>
            <a:endParaRPr lang="en-US" dirty="0">
              <a:latin typeface="+mj-lt"/>
            </a:endParaRPr>
          </a:p>
        </p:txBody>
      </p:sp>
    </p:spTree>
    <p:extLst>
      <p:ext uri="{BB962C8B-B14F-4D97-AF65-F5344CB8AC3E}">
        <p14:creationId xmlns:p14="http://schemas.microsoft.com/office/powerpoint/2010/main" val="720838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10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179" y="-88135"/>
            <a:ext cx="1915769" cy="563083"/>
          </a:xfrm>
        </p:spPr>
        <p:txBody>
          <a:bodyPr>
            <a:normAutofit fontScale="90000"/>
          </a:bodyPr>
          <a:lstStyle/>
          <a:p>
            <a:r>
              <a:rPr lang="en-US" b="1" u="sng" dirty="0" smtClean="0"/>
              <a:t>Spell</a:t>
            </a:r>
            <a:endParaRPr lang="en-US" b="1"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96569" y="88135"/>
            <a:ext cx="6595431" cy="4439798"/>
          </a:xfrm>
        </p:spPr>
      </p:pic>
      <p:sp>
        <p:nvSpPr>
          <p:cNvPr id="5" name="TextBox 4"/>
          <p:cNvSpPr txBox="1"/>
          <p:nvPr/>
        </p:nvSpPr>
        <p:spPr>
          <a:xfrm>
            <a:off x="352539" y="826265"/>
            <a:ext cx="5383575" cy="646331"/>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b="1" dirty="0" smtClean="0">
                <a:latin typeface="+mj-lt"/>
                <a:cs typeface="Calibri" panose="020F0502020204030204" pitchFamily="34" charset="0"/>
              </a:rPr>
              <a:t>Expelliarmus</a:t>
            </a:r>
            <a:r>
              <a:rPr lang="en-US" dirty="0" smtClean="0">
                <a:latin typeface="+mj-lt"/>
                <a:cs typeface="Calibri" panose="020F0502020204030204" pitchFamily="34" charset="0"/>
              </a:rPr>
              <a:t> is </a:t>
            </a:r>
            <a:r>
              <a:rPr lang="en-US" dirty="0">
                <a:latin typeface="+mj-lt"/>
                <a:cs typeface="Calibri" panose="020F0502020204030204" pitchFamily="34" charset="0"/>
              </a:rPr>
              <a:t>the most commonly utilized spells in the </a:t>
            </a:r>
            <a:r>
              <a:rPr lang="en-US" dirty="0" smtClean="0">
                <a:latin typeface="+mj-lt"/>
                <a:cs typeface="Calibri" panose="020F0502020204030204" pitchFamily="34" charset="0"/>
              </a:rPr>
              <a:t>series and </a:t>
            </a:r>
            <a:r>
              <a:rPr lang="en-US" dirty="0"/>
              <a:t>ranks high on the list</a:t>
            </a:r>
            <a:endParaRPr lang="en-US" dirty="0">
              <a:latin typeface="+mj-lt"/>
            </a:endParaRPr>
          </a:p>
        </p:txBody>
      </p:sp>
      <p:sp>
        <p:nvSpPr>
          <p:cNvPr id="6" name="TextBox 5"/>
          <p:cNvSpPr txBox="1"/>
          <p:nvPr/>
        </p:nvSpPr>
        <p:spPr>
          <a:xfrm>
            <a:off x="352539" y="1795749"/>
            <a:ext cx="5244030" cy="1200329"/>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a:t>
            </a:r>
            <a:r>
              <a:rPr lang="en-US" b="1" dirty="0" smtClean="0"/>
              <a:t>Expecto Patronum</a:t>
            </a:r>
            <a:r>
              <a:rPr lang="en-US" dirty="0" smtClean="0"/>
              <a:t> is the </a:t>
            </a:r>
            <a:r>
              <a:rPr lang="en-US" b="1" dirty="0"/>
              <a:t>most popular spell </a:t>
            </a:r>
            <a:r>
              <a:rPr lang="en-US" dirty="0"/>
              <a:t>in the film </a:t>
            </a:r>
            <a:r>
              <a:rPr lang="en-US" dirty="0" smtClean="0"/>
              <a:t>series</a:t>
            </a:r>
          </a:p>
          <a:p>
            <a:r>
              <a:rPr lang="en-US" dirty="0" smtClean="0"/>
              <a:t>It is also the favorite spell of the protagonist in this Movie</a:t>
            </a:r>
            <a:endParaRPr lang="en-US" dirty="0"/>
          </a:p>
        </p:txBody>
      </p:sp>
      <p:sp>
        <p:nvSpPr>
          <p:cNvPr id="7" name="TextBox 6"/>
          <p:cNvSpPr txBox="1"/>
          <p:nvPr/>
        </p:nvSpPr>
        <p:spPr>
          <a:xfrm>
            <a:off x="352539" y="3382178"/>
            <a:ext cx="5244030" cy="646331"/>
          </a:xfrm>
          <a:prstGeom prst="rect">
            <a:avLst/>
          </a:prstGeom>
          <a:noFill/>
        </p:spPr>
        <p:txBody>
          <a:bodyPr wrap="square" rtlCol="0">
            <a:spAutoFit/>
          </a:bodyPr>
          <a:lstStyle/>
          <a:p>
            <a:r>
              <a:rPr lang="en-US" b="1" dirty="0" smtClean="0">
                <a:latin typeface="Calibri" panose="020F0502020204030204" pitchFamily="34" charset="0"/>
                <a:cs typeface="Calibri" panose="020F0502020204030204" pitchFamily="34" charset="0"/>
              </a:rPr>
              <a:t>→</a:t>
            </a:r>
            <a:r>
              <a:rPr lang="en-US" b="1" dirty="0" smtClean="0">
                <a:latin typeface="+mj-lt"/>
              </a:rPr>
              <a:t>Blue color </a:t>
            </a:r>
            <a:r>
              <a:rPr lang="en-US" dirty="0" smtClean="0">
                <a:latin typeface="+mj-lt"/>
              </a:rPr>
              <a:t>is the most light emits from the spell</a:t>
            </a:r>
            <a:endParaRPr lang="en-US" dirty="0">
              <a:latin typeface="+mj-lt"/>
            </a:endParaRPr>
          </a:p>
        </p:txBody>
      </p:sp>
    </p:spTree>
    <p:extLst>
      <p:ext uri="{BB962C8B-B14F-4D97-AF65-F5344CB8AC3E}">
        <p14:creationId xmlns:p14="http://schemas.microsoft.com/office/powerpoint/2010/main" val="45033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circle(in)">
                                      <p:cBhvr>
                                        <p:cTn id="7" dur="20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ircle(in)">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circle(in)">
                                      <p:cBhvr>
                                        <p:cTn id="1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8106" y="-132203"/>
            <a:ext cx="8534400" cy="706303"/>
          </a:xfrm>
        </p:spPr>
        <p:txBody>
          <a:bodyPr/>
          <a:lstStyle/>
          <a:p>
            <a:r>
              <a:rPr lang="en-US" b="1" i="1" u="sng" dirty="0" err="1" smtClean="0"/>
              <a:t>POWEr</a:t>
            </a:r>
            <a:r>
              <a:rPr lang="en-US" b="1" i="1" u="sng" dirty="0" smtClean="0"/>
              <a:t>-bi dashboard</a:t>
            </a:r>
            <a:endParaRPr lang="en-US" b="1" i="1"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574100"/>
            <a:ext cx="12192000" cy="6283900"/>
          </a:xfrm>
        </p:spPr>
      </p:pic>
    </p:spTree>
    <p:extLst>
      <p:ext uri="{BB962C8B-B14F-4D97-AF65-F5344CB8AC3E}">
        <p14:creationId xmlns:p14="http://schemas.microsoft.com/office/powerpoint/2010/main" val="18576777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144" y="1501049"/>
            <a:ext cx="8534400" cy="3615267"/>
          </a:xfrm>
        </p:spPr>
        <p:txBody>
          <a:bodyPr>
            <a:normAutofit/>
          </a:bodyPr>
          <a:lstStyle/>
          <a:p>
            <a:r>
              <a:rPr lang="en-US" sz="7200" dirty="0" smtClean="0">
                <a:solidFill>
                  <a:schemeClr val="tx1"/>
                </a:solidFill>
                <a:latin typeface="Algerian" panose="04020705040A02060702" pitchFamily="82" charset="0"/>
              </a:rPr>
              <a:t>Conclusion</a:t>
            </a:r>
            <a:endParaRPr lang="en-US" sz="7200" dirty="0">
              <a:solidFill>
                <a:schemeClr val="tx1"/>
              </a:solidFill>
              <a:latin typeface="Algerian" panose="04020705040A02060702" pitchFamily="82" charset="0"/>
            </a:endParaRPr>
          </a:p>
        </p:txBody>
      </p:sp>
    </p:spTree>
    <p:extLst>
      <p:ext uri="{BB962C8B-B14F-4D97-AF65-F5344CB8AC3E}">
        <p14:creationId xmlns:p14="http://schemas.microsoft.com/office/powerpoint/2010/main" val="2809566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816" y="-63076"/>
            <a:ext cx="3469147" cy="717320"/>
          </a:xfrm>
        </p:spPr>
        <p:txBody>
          <a:bodyPr/>
          <a:lstStyle/>
          <a:p>
            <a:r>
              <a:rPr lang="en-US" b="1" u="sng" dirty="0" smtClean="0"/>
              <a:t>Conclusion</a:t>
            </a:r>
            <a:endParaRPr lang="en-US" b="1" u="sng" dirty="0"/>
          </a:p>
        </p:txBody>
      </p:sp>
      <p:sp>
        <p:nvSpPr>
          <p:cNvPr id="3" name="POWER_USER_ID_ICONS_Globe"/>
          <p:cNvSpPr>
            <a:spLocks noChangeAspect="1" noEditPoints="1"/>
          </p:cNvSpPr>
          <p:nvPr>
            <p:custDataLst>
              <p:tags r:id="rId1"/>
            </p:custDataLst>
          </p:nvPr>
        </p:nvSpPr>
        <p:spPr bwMode="auto">
          <a:xfrm>
            <a:off x="1939827" y="2943489"/>
            <a:ext cx="927097" cy="928848"/>
          </a:xfrm>
          <a:custGeom>
            <a:avLst/>
            <a:gdLst>
              <a:gd name="T0" fmla="*/ 625 w 800"/>
              <a:gd name="T1" fmla="*/ 375 h 800"/>
              <a:gd name="T2" fmla="*/ 692 w 800"/>
              <a:gd name="T3" fmla="*/ 208 h 800"/>
              <a:gd name="T4" fmla="*/ 691 w 800"/>
              <a:gd name="T5" fmla="*/ 595 h 800"/>
              <a:gd name="T6" fmla="*/ 625 w 800"/>
              <a:gd name="T7" fmla="*/ 425 h 800"/>
              <a:gd name="T8" fmla="*/ 691 w 800"/>
              <a:gd name="T9" fmla="*/ 595 h 800"/>
              <a:gd name="T10" fmla="*/ 593 w 800"/>
              <a:gd name="T11" fmla="*/ 607 h 800"/>
              <a:gd name="T12" fmla="*/ 532 w 800"/>
              <a:gd name="T13" fmla="*/ 724 h 800"/>
              <a:gd name="T14" fmla="*/ 425 w 800"/>
              <a:gd name="T15" fmla="*/ 579 h 800"/>
              <a:gd name="T16" fmla="*/ 516 w 800"/>
              <a:gd name="T17" fmla="*/ 659 h 800"/>
              <a:gd name="T18" fmla="*/ 425 w 800"/>
              <a:gd name="T19" fmla="*/ 425 h 800"/>
              <a:gd name="T20" fmla="*/ 559 w 800"/>
              <a:gd name="T21" fmla="*/ 546 h 800"/>
              <a:gd name="T22" fmla="*/ 425 w 800"/>
              <a:gd name="T23" fmla="*/ 425 h 800"/>
              <a:gd name="T24" fmla="*/ 559 w 800"/>
              <a:gd name="T25" fmla="*/ 257 h 800"/>
              <a:gd name="T26" fmla="*/ 425 w 800"/>
              <a:gd name="T27" fmla="*/ 375 h 800"/>
              <a:gd name="T28" fmla="*/ 425 w 800"/>
              <a:gd name="T29" fmla="*/ 55 h 800"/>
              <a:gd name="T30" fmla="*/ 545 w 800"/>
              <a:gd name="T31" fmla="*/ 209 h 800"/>
              <a:gd name="T32" fmla="*/ 425 w 800"/>
              <a:gd name="T33" fmla="*/ 55 h 800"/>
              <a:gd name="T34" fmla="*/ 594 w 800"/>
              <a:gd name="T35" fmla="*/ 196 h 800"/>
              <a:gd name="T36" fmla="*/ 661 w 800"/>
              <a:gd name="T37" fmla="*/ 168 h 800"/>
              <a:gd name="T38" fmla="*/ 255 w 800"/>
              <a:gd name="T39" fmla="*/ 209 h 800"/>
              <a:gd name="T40" fmla="*/ 375 w 800"/>
              <a:gd name="T41" fmla="*/ 55 h 800"/>
              <a:gd name="T42" fmla="*/ 375 w 800"/>
              <a:gd name="T43" fmla="*/ 375 h 800"/>
              <a:gd name="T44" fmla="*/ 241 w 800"/>
              <a:gd name="T45" fmla="*/ 257 h 800"/>
              <a:gd name="T46" fmla="*/ 375 w 800"/>
              <a:gd name="T47" fmla="*/ 375 h 800"/>
              <a:gd name="T48" fmla="*/ 242 w 800"/>
              <a:gd name="T49" fmla="*/ 546 h 800"/>
              <a:gd name="T50" fmla="*/ 375 w 800"/>
              <a:gd name="T51" fmla="*/ 425 h 800"/>
              <a:gd name="T52" fmla="*/ 375 w 800"/>
              <a:gd name="T53" fmla="*/ 746 h 800"/>
              <a:gd name="T54" fmla="*/ 256 w 800"/>
              <a:gd name="T55" fmla="*/ 594 h 800"/>
              <a:gd name="T56" fmla="*/ 375 w 800"/>
              <a:gd name="T57" fmla="*/ 746 h 800"/>
              <a:gd name="T58" fmla="*/ 208 w 800"/>
              <a:gd name="T59" fmla="*/ 607 h 800"/>
              <a:gd name="T60" fmla="*/ 141 w 800"/>
              <a:gd name="T61" fmla="*/ 635 h 800"/>
              <a:gd name="T62" fmla="*/ 52 w 800"/>
              <a:gd name="T63" fmla="*/ 425 h 800"/>
              <a:gd name="T64" fmla="*/ 194 w 800"/>
              <a:gd name="T65" fmla="*/ 559 h 800"/>
              <a:gd name="T66" fmla="*/ 108 w 800"/>
              <a:gd name="T67" fmla="*/ 208 h 800"/>
              <a:gd name="T68" fmla="*/ 176 w 800"/>
              <a:gd name="T69" fmla="*/ 375 h 800"/>
              <a:gd name="T70" fmla="*/ 108 w 800"/>
              <a:gd name="T71" fmla="*/ 208 h 800"/>
              <a:gd name="T72" fmla="*/ 207 w 800"/>
              <a:gd name="T73" fmla="*/ 196 h 800"/>
              <a:gd name="T74" fmla="*/ 268 w 800"/>
              <a:gd name="T75" fmla="*/ 76 h 800"/>
              <a:gd name="T76" fmla="*/ 425 w 800"/>
              <a:gd name="T77" fmla="*/ 0 h 800"/>
              <a:gd name="T78" fmla="*/ 375 w 800"/>
              <a:gd name="T79" fmla="*/ 1 h 800"/>
              <a:gd name="T80" fmla="*/ 0 w 800"/>
              <a:gd name="T81" fmla="*/ 375 h 800"/>
              <a:gd name="T82" fmla="*/ 1 w 800"/>
              <a:gd name="T83" fmla="*/ 425 h 800"/>
              <a:gd name="T84" fmla="*/ 375 w 800"/>
              <a:gd name="T85" fmla="*/ 800 h 800"/>
              <a:gd name="T86" fmla="*/ 425 w 800"/>
              <a:gd name="T87" fmla="*/ 799 h 800"/>
              <a:gd name="T88" fmla="*/ 800 w 800"/>
              <a:gd name="T89" fmla="*/ 425 h 800"/>
              <a:gd name="T90" fmla="*/ 799 w 800"/>
              <a:gd name="T91" fmla="*/ 37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 h="800">
                <a:moveTo>
                  <a:pt x="749" y="375"/>
                </a:moveTo>
                <a:lnTo>
                  <a:pt x="625" y="375"/>
                </a:lnTo>
                <a:cubicBezTo>
                  <a:pt x="623" y="329"/>
                  <a:pt x="617" y="285"/>
                  <a:pt x="607" y="244"/>
                </a:cubicBezTo>
                <a:cubicBezTo>
                  <a:pt x="638" y="234"/>
                  <a:pt x="667" y="222"/>
                  <a:pt x="692" y="208"/>
                </a:cubicBezTo>
                <a:cubicBezTo>
                  <a:pt x="725" y="257"/>
                  <a:pt x="745" y="314"/>
                  <a:pt x="749" y="375"/>
                </a:cubicBezTo>
                <a:close/>
                <a:moveTo>
                  <a:pt x="691" y="595"/>
                </a:moveTo>
                <a:cubicBezTo>
                  <a:pt x="666" y="581"/>
                  <a:pt x="637" y="569"/>
                  <a:pt x="607" y="559"/>
                </a:cubicBezTo>
                <a:cubicBezTo>
                  <a:pt x="617" y="518"/>
                  <a:pt x="623" y="473"/>
                  <a:pt x="625" y="425"/>
                </a:cubicBezTo>
                <a:lnTo>
                  <a:pt x="749" y="425"/>
                </a:lnTo>
                <a:cubicBezTo>
                  <a:pt x="745" y="488"/>
                  <a:pt x="724" y="546"/>
                  <a:pt x="691" y="595"/>
                </a:cubicBezTo>
                <a:close/>
                <a:moveTo>
                  <a:pt x="532" y="724"/>
                </a:moveTo>
                <a:cubicBezTo>
                  <a:pt x="557" y="693"/>
                  <a:pt x="577" y="653"/>
                  <a:pt x="593" y="607"/>
                </a:cubicBezTo>
                <a:cubicBezTo>
                  <a:pt x="617" y="615"/>
                  <a:pt x="639" y="624"/>
                  <a:pt x="660" y="635"/>
                </a:cubicBezTo>
                <a:cubicBezTo>
                  <a:pt x="625" y="673"/>
                  <a:pt x="581" y="704"/>
                  <a:pt x="532" y="724"/>
                </a:cubicBezTo>
                <a:close/>
                <a:moveTo>
                  <a:pt x="425" y="746"/>
                </a:moveTo>
                <a:lnTo>
                  <a:pt x="425" y="579"/>
                </a:lnTo>
                <a:cubicBezTo>
                  <a:pt x="467" y="580"/>
                  <a:pt x="507" y="585"/>
                  <a:pt x="545" y="594"/>
                </a:cubicBezTo>
                <a:cubicBezTo>
                  <a:pt x="536" y="617"/>
                  <a:pt x="527" y="639"/>
                  <a:pt x="516" y="659"/>
                </a:cubicBezTo>
                <a:cubicBezTo>
                  <a:pt x="490" y="705"/>
                  <a:pt x="458" y="735"/>
                  <a:pt x="425" y="746"/>
                </a:cubicBezTo>
                <a:close/>
                <a:moveTo>
                  <a:pt x="425" y="425"/>
                </a:moveTo>
                <a:lnTo>
                  <a:pt x="575" y="425"/>
                </a:lnTo>
                <a:cubicBezTo>
                  <a:pt x="573" y="468"/>
                  <a:pt x="568" y="508"/>
                  <a:pt x="559" y="546"/>
                </a:cubicBezTo>
                <a:cubicBezTo>
                  <a:pt x="516" y="536"/>
                  <a:pt x="472" y="530"/>
                  <a:pt x="425" y="529"/>
                </a:cubicBezTo>
                <a:lnTo>
                  <a:pt x="425" y="425"/>
                </a:lnTo>
                <a:close/>
                <a:moveTo>
                  <a:pt x="425" y="275"/>
                </a:moveTo>
                <a:cubicBezTo>
                  <a:pt x="472" y="273"/>
                  <a:pt x="517" y="267"/>
                  <a:pt x="559" y="257"/>
                </a:cubicBezTo>
                <a:cubicBezTo>
                  <a:pt x="568" y="294"/>
                  <a:pt x="573" y="334"/>
                  <a:pt x="575" y="375"/>
                </a:cubicBezTo>
                <a:lnTo>
                  <a:pt x="425" y="375"/>
                </a:lnTo>
                <a:lnTo>
                  <a:pt x="425" y="275"/>
                </a:lnTo>
                <a:close/>
                <a:moveTo>
                  <a:pt x="425" y="55"/>
                </a:moveTo>
                <a:cubicBezTo>
                  <a:pt x="458" y="65"/>
                  <a:pt x="490" y="96"/>
                  <a:pt x="516" y="142"/>
                </a:cubicBezTo>
                <a:cubicBezTo>
                  <a:pt x="527" y="162"/>
                  <a:pt x="537" y="185"/>
                  <a:pt x="545" y="209"/>
                </a:cubicBezTo>
                <a:cubicBezTo>
                  <a:pt x="507" y="218"/>
                  <a:pt x="467" y="223"/>
                  <a:pt x="425" y="225"/>
                </a:cubicBezTo>
                <a:lnTo>
                  <a:pt x="425" y="55"/>
                </a:lnTo>
                <a:close/>
                <a:moveTo>
                  <a:pt x="661" y="168"/>
                </a:moveTo>
                <a:cubicBezTo>
                  <a:pt x="641" y="179"/>
                  <a:pt x="618" y="188"/>
                  <a:pt x="594" y="196"/>
                </a:cubicBezTo>
                <a:cubicBezTo>
                  <a:pt x="578" y="149"/>
                  <a:pt x="557" y="108"/>
                  <a:pt x="532" y="76"/>
                </a:cubicBezTo>
                <a:cubicBezTo>
                  <a:pt x="582" y="97"/>
                  <a:pt x="626" y="128"/>
                  <a:pt x="661" y="168"/>
                </a:cubicBezTo>
                <a:close/>
                <a:moveTo>
                  <a:pt x="375" y="225"/>
                </a:moveTo>
                <a:cubicBezTo>
                  <a:pt x="334" y="223"/>
                  <a:pt x="293" y="218"/>
                  <a:pt x="255" y="209"/>
                </a:cubicBezTo>
                <a:cubicBezTo>
                  <a:pt x="264" y="185"/>
                  <a:pt x="273" y="162"/>
                  <a:pt x="285" y="142"/>
                </a:cubicBezTo>
                <a:cubicBezTo>
                  <a:pt x="311" y="96"/>
                  <a:pt x="343" y="65"/>
                  <a:pt x="375" y="55"/>
                </a:cubicBezTo>
                <a:lnTo>
                  <a:pt x="375" y="225"/>
                </a:lnTo>
                <a:close/>
                <a:moveTo>
                  <a:pt x="375" y="375"/>
                </a:moveTo>
                <a:lnTo>
                  <a:pt x="226" y="375"/>
                </a:lnTo>
                <a:cubicBezTo>
                  <a:pt x="228" y="334"/>
                  <a:pt x="233" y="294"/>
                  <a:pt x="241" y="257"/>
                </a:cubicBezTo>
                <a:cubicBezTo>
                  <a:pt x="284" y="267"/>
                  <a:pt x="329" y="273"/>
                  <a:pt x="375" y="275"/>
                </a:cubicBezTo>
                <a:lnTo>
                  <a:pt x="375" y="375"/>
                </a:lnTo>
                <a:close/>
                <a:moveTo>
                  <a:pt x="375" y="529"/>
                </a:moveTo>
                <a:cubicBezTo>
                  <a:pt x="329" y="530"/>
                  <a:pt x="284" y="536"/>
                  <a:pt x="242" y="546"/>
                </a:cubicBezTo>
                <a:cubicBezTo>
                  <a:pt x="233" y="508"/>
                  <a:pt x="228" y="467"/>
                  <a:pt x="226" y="425"/>
                </a:cubicBezTo>
                <a:lnTo>
                  <a:pt x="375" y="425"/>
                </a:lnTo>
                <a:lnTo>
                  <a:pt x="375" y="529"/>
                </a:lnTo>
                <a:close/>
                <a:moveTo>
                  <a:pt x="375" y="746"/>
                </a:moveTo>
                <a:cubicBezTo>
                  <a:pt x="343" y="735"/>
                  <a:pt x="311" y="705"/>
                  <a:pt x="285" y="659"/>
                </a:cubicBezTo>
                <a:cubicBezTo>
                  <a:pt x="274" y="639"/>
                  <a:pt x="264" y="617"/>
                  <a:pt x="256" y="594"/>
                </a:cubicBezTo>
                <a:cubicBezTo>
                  <a:pt x="294" y="585"/>
                  <a:pt x="334" y="580"/>
                  <a:pt x="375" y="579"/>
                </a:cubicBezTo>
                <a:lnTo>
                  <a:pt x="375" y="746"/>
                </a:lnTo>
                <a:close/>
                <a:moveTo>
                  <a:pt x="141" y="635"/>
                </a:moveTo>
                <a:cubicBezTo>
                  <a:pt x="161" y="624"/>
                  <a:pt x="184" y="615"/>
                  <a:pt x="208" y="607"/>
                </a:cubicBezTo>
                <a:cubicBezTo>
                  <a:pt x="223" y="653"/>
                  <a:pt x="244" y="693"/>
                  <a:pt x="268" y="724"/>
                </a:cubicBezTo>
                <a:cubicBezTo>
                  <a:pt x="219" y="704"/>
                  <a:pt x="176" y="673"/>
                  <a:pt x="141" y="635"/>
                </a:cubicBezTo>
                <a:close/>
                <a:moveTo>
                  <a:pt x="109" y="595"/>
                </a:moveTo>
                <a:cubicBezTo>
                  <a:pt x="77" y="546"/>
                  <a:pt x="56" y="488"/>
                  <a:pt x="52" y="425"/>
                </a:cubicBezTo>
                <a:lnTo>
                  <a:pt x="176" y="425"/>
                </a:lnTo>
                <a:cubicBezTo>
                  <a:pt x="177" y="473"/>
                  <a:pt x="184" y="518"/>
                  <a:pt x="194" y="559"/>
                </a:cubicBezTo>
                <a:cubicBezTo>
                  <a:pt x="163" y="569"/>
                  <a:pt x="135" y="581"/>
                  <a:pt x="109" y="595"/>
                </a:cubicBezTo>
                <a:close/>
                <a:moveTo>
                  <a:pt x="108" y="208"/>
                </a:moveTo>
                <a:cubicBezTo>
                  <a:pt x="134" y="222"/>
                  <a:pt x="163" y="234"/>
                  <a:pt x="193" y="244"/>
                </a:cubicBezTo>
                <a:cubicBezTo>
                  <a:pt x="183" y="285"/>
                  <a:pt x="177" y="329"/>
                  <a:pt x="176" y="375"/>
                </a:cubicBezTo>
                <a:lnTo>
                  <a:pt x="52" y="375"/>
                </a:lnTo>
                <a:cubicBezTo>
                  <a:pt x="56" y="314"/>
                  <a:pt x="76" y="257"/>
                  <a:pt x="108" y="208"/>
                </a:cubicBezTo>
                <a:close/>
                <a:moveTo>
                  <a:pt x="268" y="76"/>
                </a:moveTo>
                <a:cubicBezTo>
                  <a:pt x="244" y="108"/>
                  <a:pt x="223" y="149"/>
                  <a:pt x="207" y="196"/>
                </a:cubicBezTo>
                <a:cubicBezTo>
                  <a:pt x="183" y="188"/>
                  <a:pt x="160" y="179"/>
                  <a:pt x="139" y="168"/>
                </a:cubicBezTo>
                <a:cubicBezTo>
                  <a:pt x="175" y="128"/>
                  <a:pt x="219" y="97"/>
                  <a:pt x="268" y="76"/>
                </a:cubicBezTo>
                <a:close/>
                <a:moveTo>
                  <a:pt x="425" y="1"/>
                </a:moveTo>
                <a:lnTo>
                  <a:pt x="425" y="0"/>
                </a:lnTo>
                <a:lnTo>
                  <a:pt x="375" y="0"/>
                </a:lnTo>
                <a:lnTo>
                  <a:pt x="375" y="1"/>
                </a:lnTo>
                <a:cubicBezTo>
                  <a:pt x="174" y="14"/>
                  <a:pt x="14" y="174"/>
                  <a:pt x="1" y="375"/>
                </a:cubicBezTo>
                <a:lnTo>
                  <a:pt x="0" y="375"/>
                </a:lnTo>
                <a:lnTo>
                  <a:pt x="0" y="425"/>
                </a:lnTo>
                <a:lnTo>
                  <a:pt x="1" y="425"/>
                </a:lnTo>
                <a:cubicBezTo>
                  <a:pt x="14" y="626"/>
                  <a:pt x="174" y="787"/>
                  <a:pt x="375" y="799"/>
                </a:cubicBezTo>
                <a:lnTo>
                  <a:pt x="375" y="800"/>
                </a:lnTo>
                <a:lnTo>
                  <a:pt x="425" y="800"/>
                </a:lnTo>
                <a:lnTo>
                  <a:pt x="425" y="799"/>
                </a:lnTo>
                <a:cubicBezTo>
                  <a:pt x="626" y="787"/>
                  <a:pt x="787" y="626"/>
                  <a:pt x="799" y="425"/>
                </a:cubicBezTo>
                <a:lnTo>
                  <a:pt x="800" y="425"/>
                </a:lnTo>
                <a:lnTo>
                  <a:pt x="800" y="375"/>
                </a:lnTo>
                <a:lnTo>
                  <a:pt x="799" y="375"/>
                </a:lnTo>
                <a:cubicBezTo>
                  <a:pt x="787" y="174"/>
                  <a:pt x="626" y="14"/>
                  <a:pt x="425" y="1"/>
                </a:cubicBezTo>
                <a:close/>
              </a:path>
            </a:pathLst>
          </a:custGeom>
          <a:solidFill>
            <a:schemeClr val="accent1"/>
          </a:solidFill>
          <a:ln>
            <a:solidFill>
              <a:srgbClr val="FFFF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 name="Arc 3"/>
          <p:cNvSpPr>
            <a:spLocks noChangeAspect="1"/>
          </p:cNvSpPr>
          <p:nvPr/>
        </p:nvSpPr>
        <p:spPr>
          <a:xfrm>
            <a:off x="1098366" y="2124556"/>
            <a:ext cx="2608891" cy="2608891"/>
          </a:xfrm>
          <a:prstGeom prst="arc">
            <a:avLst>
              <a:gd name="adj1" fmla="val 6337643"/>
              <a:gd name="adj2"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Arc 4"/>
          <p:cNvSpPr>
            <a:spLocks noChangeAspect="1"/>
          </p:cNvSpPr>
          <p:nvPr/>
        </p:nvSpPr>
        <p:spPr>
          <a:xfrm rot="7470034">
            <a:off x="1422761" y="2448952"/>
            <a:ext cx="1960098" cy="1960098"/>
          </a:xfrm>
          <a:prstGeom prst="arc">
            <a:avLst>
              <a:gd name="adj1" fmla="val 6337643"/>
              <a:gd name="adj2" fmla="val 0"/>
            </a:avLst>
          </a:prstGeom>
          <a:ln w="3810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 name="Oval 6"/>
          <p:cNvSpPr>
            <a:spLocks noChangeAspect="1"/>
          </p:cNvSpPr>
          <p:nvPr/>
        </p:nvSpPr>
        <p:spPr>
          <a:xfrm>
            <a:off x="3814928" y="2264991"/>
            <a:ext cx="426575" cy="4265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2</a:t>
            </a:r>
          </a:p>
        </p:txBody>
      </p:sp>
      <p:sp>
        <p:nvSpPr>
          <p:cNvPr id="8" name="Oval 7"/>
          <p:cNvSpPr>
            <a:spLocks noChangeAspect="1"/>
          </p:cNvSpPr>
          <p:nvPr/>
        </p:nvSpPr>
        <p:spPr>
          <a:xfrm>
            <a:off x="4028215" y="3533868"/>
            <a:ext cx="426575" cy="42657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3</a:t>
            </a:r>
          </a:p>
        </p:txBody>
      </p:sp>
      <p:sp>
        <p:nvSpPr>
          <p:cNvPr id="9" name="Oval 8"/>
          <p:cNvSpPr>
            <a:spLocks noChangeAspect="1"/>
          </p:cNvSpPr>
          <p:nvPr/>
        </p:nvSpPr>
        <p:spPr>
          <a:xfrm>
            <a:off x="3562487" y="4495323"/>
            <a:ext cx="426575" cy="4265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4</a:t>
            </a:r>
          </a:p>
        </p:txBody>
      </p:sp>
      <p:sp>
        <p:nvSpPr>
          <p:cNvPr id="11" name="Arc 10"/>
          <p:cNvSpPr>
            <a:spLocks noChangeAspect="1"/>
          </p:cNvSpPr>
          <p:nvPr/>
        </p:nvSpPr>
        <p:spPr>
          <a:xfrm rot="10507968">
            <a:off x="492973" y="1519162"/>
            <a:ext cx="3819677" cy="3819677"/>
          </a:xfrm>
          <a:prstGeom prst="arc">
            <a:avLst>
              <a:gd name="adj1" fmla="val 6337643"/>
              <a:gd name="adj2" fmla="val 0"/>
            </a:avLst>
          </a:prstGeom>
          <a:ln w="381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POWER_USER_ID_ICONS_Globe"/>
          <p:cNvSpPr>
            <a:spLocks noChangeAspect="1" noEditPoints="1"/>
          </p:cNvSpPr>
          <p:nvPr>
            <p:custDataLst>
              <p:tags r:id="rId2"/>
            </p:custDataLst>
          </p:nvPr>
        </p:nvSpPr>
        <p:spPr bwMode="auto">
          <a:xfrm>
            <a:off x="1939827" y="2943489"/>
            <a:ext cx="927097" cy="928848"/>
          </a:xfrm>
          <a:custGeom>
            <a:avLst/>
            <a:gdLst>
              <a:gd name="T0" fmla="*/ 625 w 800"/>
              <a:gd name="T1" fmla="*/ 375 h 800"/>
              <a:gd name="T2" fmla="*/ 692 w 800"/>
              <a:gd name="T3" fmla="*/ 208 h 800"/>
              <a:gd name="T4" fmla="*/ 691 w 800"/>
              <a:gd name="T5" fmla="*/ 595 h 800"/>
              <a:gd name="T6" fmla="*/ 625 w 800"/>
              <a:gd name="T7" fmla="*/ 425 h 800"/>
              <a:gd name="T8" fmla="*/ 691 w 800"/>
              <a:gd name="T9" fmla="*/ 595 h 800"/>
              <a:gd name="T10" fmla="*/ 593 w 800"/>
              <a:gd name="T11" fmla="*/ 607 h 800"/>
              <a:gd name="T12" fmla="*/ 532 w 800"/>
              <a:gd name="T13" fmla="*/ 724 h 800"/>
              <a:gd name="T14" fmla="*/ 425 w 800"/>
              <a:gd name="T15" fmla="*/ 579 h 800"/>
              <a:gd name="T16" fmla="*/ 516 w 800"/>
              <a:gd name="T17" fmla="*/ 659 h 800"/>
              <a:gd name="T18" fmla="*/ 425 w 800"/>
              <a:gd name="T19" fmla="*/ 425 h 800"/>
              <a:gd name="T20" fmla="*/ 559 w 800"/>
              <a:gd name="T21" fmla="*/ 546 h 800"/>
              <a:gd name="T22" fmla="*/ 425 w 800"/>
              <a:gd name="T23" fmla="*/ 425 h 800"/>
              <a:gd name="T24" fmla="*/ 559 w 800"/>
              <a:gd name="T25" fmla="*/ 257 h 800"/>
              <a:gd name="T26" fmla="*/ 425 w 800"/>
              <a:gd name="T27" fmla="*/ 375 h 800"/>
              <a:gd name="T28" fmla="*/ 425 w 800"/>
              <a:gd name="T29" fmla="*/ 55 h 800"/>
              <a:gd name="T30" fmla="*/ 545 w 800"/>
              <a:gd name="T31" fmla="*/ 209 h 800"/>
              <a:gd name="T32" fmla="*/ 425 w 800"/>
              <a:gd name="T33" fmla="*/ 55 h 800"/>
              <a:gd name="T34" fmla="*/ 594 w 800"/>
              <a:gd name="T35" fmla="*/ 196 h 800"/>
              <a:gd name="T36" fmla="*/ 661 w 800"/>
              <a:gd name="T37" fmla="*/ 168 h 800"/>
              <a:gd name="T38" fmla="*/ 255 w 800"/>
              <a:gd name="T39" fmla="*/ 209 h 800"/>
              <a:gd name="T40" fmla="*/ 375 w 800"/>
              <a:gd name="T41" fmla="*/ 55 h 800"/>
              <a:gd name="T42" fmla="*/ 375 w 800"/>
              <a:gd name="T43" fmla="*/ 375 h 800"/>
              <a:gd name="T44" fmla="*/ 241 w 800"/>
              <a:gd name="T45" fmla="*/ 257 h 800"/>
              <a:gd name="T46" fmla="*/ 375 w 800"/>
              <a:gd name="T47" fmla="*/ 375 h 800"/>
              <a:gd name="T48" fmla="*/ 242 w 800"/>
              <a:gd name="T49" fmla="*/ 546 h 800"/>
              <a:gd name="T50" fmla="*/ 375 w 800"/>
              <a:gd name="T51" fmla="*/ 425 h 800"/>
              <a:gd name="T52" fmla="*/ 375 w 800"/>
              <a:gd name="T53" fmla="*/ 746 h 800"/>
              <a:gd name="T54" fmla="*/ 256 w 800"/>
              <a:gd name="T55" fmla="*/ 594 h 800"/>
              <a:gd name="T56" fmla="*/ 375 w 800"/>
              <a:gd name="T57" fmla="*/ 746 h 800"/>
              <a:gd name="T58" fmla="*/ 208 w 800"/>
              <a:gd name="T59" fmla="*/ 607 h 800"/>
              <a:gd name="T60" fmla="*/ 141 w 800"/>
              <a:gd name="T61" fmla="*/ 635 h 800"/>
              <a:gd name="T62" fmla="*/ 52 w 800"/>
              <a:gd name="T63" fmla="*/ 425 h 800"/>
              <a:gd name="T64" fmla="*/ 194 w 800"/>
              <a:gd name="T65" fmla="*/ 559 h 800"/>
              <a:gd name="T66" fmla="*/ 108 w 800"/>
              <a:gd name="T67" fmla="*/ 208 h 800"/>
              <a:gd name="T68" fmla="*/ 176 w 800"/>
              <a:gd name="T69" fmla="*/ 375 h 800"/>
              <a:gd name="T70" fmla="*/ 108 w 800"/>
              <a:gd name="T71" fmla="*/ 208 h 800"/>
              <a:gd name="T72" fmla="*/ 207 w 800"/>
              <a:gd name="T73" fmla="*/ 196 h 800"/>
              <a:gd name="T74" fmla="*/ 268 w 800"/>
              <a:gd name="T75" fmla="*/ 76 h 800"/>
              <a:gd name="T76" fmla="*/ 425 w 800"/>
              <a:gd name="T77" fmla="*/ 0 h 800"/>
              <a:gd name="T78" fmla="*/ 375 w 800"/>
              <a:gd name="T79" fmla="*/ 1 h 800"/>
              <a:gd name="T80" fmla="*/ 0 w 800"/>
              <a:gd name="T81" fmla="*/ 375 h 800"/>
              <a:gd name="T82" fmla="*/ 1 w 800"/>
              <a:gd name="T83" fmla="*/ 425 h 800"/>
              <a:gd name="T84" fmla="*/ 375 w 800"/>
              <a:gd name="T85" fmla="*/ 800 h 800"/>
              <a:gd name="T86" fmla="*/ 425 w 800"/>
              <a:gd name="T87" fmla="*/ 799 h 800"/>
              <a:gd name="T88" fmla="*/ 800 w 800"/>
              <a:gd name="T89" fmla="*/ 425 h 800"/>
              <a:gd name="T90" fmla="*/ 799 w 800"/>
              <a:gd name="T91" fmla="*/ 37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 h="800">
                <a:moveTo>
                  <a:pt x="749" y="375"/>
                </a:moveTo>
                <a:lnTo>
                  <a:pt x="625" y="375"/>
                </a:lnTo>
                <a:cubicBezTo>
                  <a:pt x="623" y="329"/>
                  <a:pt x="617" y="285"/>
                  <a:pt x="607" y="244"/>
                </a:cubicBezTo>
                <a:cubicBezTo>
                  <a:pt x="638" y="234"/>
                  <a:pt x="667" y="222"/>
                  <a:pt x="692" y="208"/>
                </a:cubicBezTo>
                <a:cubicBezTo>
                  <a:pt x="725" y="257"/>
                  <a:pt x="745" y="314"/>
                  <a:pt x="749" y="375"/>
                </a:cubicBezTo>
                <a:close/>
                <a:moveTo>
                  <a:pt x="691" y="595"/>
                </a:moveTo>
                <a:cubicBezTo>
                  <a:pt x="666" y="581"/>
                  <a:pt x="637" y="569"/>
                  <a:pt x="607" y="559"/>
                </a:cubicBezTo>
                <a:cubicBezTo>
                  <a:pt x="617" y="518"/>
                  <a:pt x="623" y="473"/>
                  <a:pt x="625" y="425"/>
                </a:cubicBezTo>
                <a:lnTo>
                  <a:pt x="749" y="425"/>
                </a:lnTo>
                <a:cubicBezTo>
                  <a:pt x="745" y="488"/>
                  <a:pt x="724" y="546"/>
                  <a:pt x="691" y="595"/>
                </a:cubicBezTo>
                <a:close/>
                <a:moveTo>
                  <a:pt x="532" y="724"/>
                </a:moveTo>
                <a:cubicBezTo>
                  <a:pt x="557" y="693"/>
                  <a:pt x="577" y="653"/>
                  <a:pt x="593" y="607"/>
                </a:cubicBezTo>
                <a:cubicBezTo>
                  <a:pt x="617" y="615"/>
                  <a:pt x="639" y="624"/>
                  <a:pt x="660" y="635"/>
                </a:cubicBezTo>
                <a:cubicBezTo>
                  <a:pt x="625" y="673"/>
                  <a:pt x="581" y="704"/>
                  <a:pt x="532" y="724"/>
                </a:cubicBezTo>
                <a:close/>
                <a:moveTo>
                  <a:pt x="425" y="746"/>
                </a:moveTo>
                <a:lnTo>
                  <a:pt x="425" y="579"/>
                </a:lnTo>
                <a:cubicBezTo>
                  <a:pt x="467" y="580"/>
                  <a:pt x="507" y="585"/>
                  <a:pt x="545" y="594"/>
                </a:cubicBezTo>
                <a:cubicBezTo>
                  <a:pt x="536" y="617"/>
                  <a:pt x="527" y="639"/>
                  <a:pt x="516" y="659"/>
                </a:cubicBezTo>
                <a:cubicBezTo>
                  <a:pt x="490" y="705"/>
                  <a:pt x="458" y="735"/>
                  <a:pt x="425" y="746"/>
                </a:cubicBezTo>
                <a:close/>
                <a:moveTo>
                  <a:pt x="425" y="425"/>
                </a:moveTo>
                <a:lnTo>
                  <a:pt x="575" y="425"/>
                </a:lnTo>
                <a:cubicBezTo>
                  <a:pt x="573" y="468"/>
                  <a:pt x="568" y="508"/>
                  <a:pt x="559" y="546"/>
                </a:cubicBezTo>
                <a:cubicBezTo>
                  <a:pt x="516" y="536"/>
                  <a:pt x="472" y="530"/>
                  <a:pt x="425" y="529"/>
                </a:cubicBezTo>
                <a:lnTo>
                  <a:pt x="425" y="425"/>
                </a:lnTo>
                <a:close/>
                <a:moveTo>
                  <a:pt x="425" y="275"/>
                </a:moveTo>
                <a:cubicBezTo>
                  <a:pt x="472" y="273"/>
                  <a:pt x="517" y="267"/>
                  <a:pt x="559" y="257"/>
                </a:cubicBezTo>
                <a:cubicBezTo>
                  <a:pt x="568" y="294"/>
                  <a:pt x="573" y="334"/>
                  <a:pt x="575" y="375"/>
                </a:cubicBezTo>
                <a:lnTo>
                  <a:pt x="425" y="375"/>
                </a:lnTo>
                <a:lnTo>
                  <a:pt x="425" y="275"/>
                </a:lnTo>
                <a:close/>
                <a:moveTo>
                  <a:pt x="425" y="55"/>
                </a:moveTo>
                <a:cubicBezTo>
                  <a:pt x="458" y="65"/>
                  <a:pt x="490" y="96"/>
                  <a:pt x="516" y="142"/>
                </a:cubicBezTo>
                <a:cubicBezTo>
                  <a:pt x="527" y="162"/>
                  <a:pt x="537" y="185"/>
                  <a:pt x="545" y="209"/>
                </a:cubicBezTo>
                <a:cubicBezTo>
                  <a:pt x="507" y="218"/>
                  <a:pt x="467" y="223"/>
                  <a:pt x="425" y="225"/>
                </a:cubicBezTo>
                <a:lnTo>
                  <a:pt x="425" y="55"/>
                </a:lnTo>
                <a:close/>
                <a:moveTo>
                  <a:pt x="661" y="168"/>
                </a:moveTo>
                <a:cubicBezTo>
                  <a:pt x="641" y="179"/>
                  <a:pt x="618" y="188"/>
                  <a:pt x="594" y="196"/>
                </a:cubicBezTo>
                <a:cubicBezTo>
                  <a:pt x="578" y="149"/>
                  <a:pt x="557" y="108"/>
                  <a:pt x="532" y="76"/>
                </a:cubicBezTo>
                <a:cubicBezTo>
                  <a:pt x="582" y="97"/>
                  <a:pt x="626" y="128"/>
                  <a:pt x="661" y="168"/>
                </a:cubicBezTo>
                <a:close/>
                <a:moveTo>
                  <a:pt x="375" y="225"/>
                </a:moveTo>
                <a:cubicBezTo>
                  <a:pt x="334" y="223"/>
                  <a:pt x="293" y="218"/>
                  <a:pt x="255" y="209"/>
                </a:cubicBezTo>
                <a:cubicBezTo>
                  <a:pt x="264" y="185"/>
                  <a:pt x="273" y="162"/>
                  <a:pt x="285" y="142"/>
                </a:cubicBezTo>
                <a:cubicBezTo>
                  <a:pt x="311" y="96"/>
                  <a:pt x="343" y="65"/>
                  <a:pt x="375" y="55"/>
                </a:cubicBezTo>
                <a:lnTo>
                  <a:pt x="375" y="225"/>
                </a:lnTo>
                <a:close/>
                <a:moveTo>
                  <a:pt x="375" y="375"/>
                </a:moveTo>
                <a:lnTo>
                  <a:pt x="226" y="375"/>
                </a:lnTo>
                <a:cubicBezTo>
                  <a:pt x="228" y="334"/>
                  <a:pt x="233" y="294"/>
                  <a:pt x="241" y="257"/>
                </a:cubicBezTo>
                <a:cubicBezTo>
                  <a:pt x="284" y="267"/>
                  <a:pt x="329" y="273"/>
                  <a:pt x="375" y="275"/>
                </a:cubicBezTo>
                <a:lnTo>
                  <a:pt x="375" y="375"/>
                </a:lnTo>
                <a:close/>
                <a:moveTo>
                  <a:pt x="375" y="529"/>
                </a:moveTo>
                <a:cubicBezTo>
                  <a:pt x="329" y="530"/>
                  <a:pt x="284" y="536"/>
                  <a:pt x="242" y="546"/>
                </a:cubicBezTo>
                <a:cubicBezTo>
                  <a:pt x="233" y="508"/>
                  <a:pt x="228" y="467"/>
                  <a:pt x="226" y="425"/>
                </a:cubicBezTo>
                <a:lnTo>
                  <a:pt x="375" y="425"/>
                </a:lnTo>
                <a:lnTo>
                  <a:pt x="375" y="529"/>
                </a:lnTo>
                <a:close/>
                <a:moveTo>
                  <a:pt x="375" y="746"/>
                </a:moveTo>
                <a:cubicBezTo>
                  <a:pt x="343" y="735"/>
                  <a:pt x="311" y="705"/>
                  <a:pt x="285" y="659"/>
                </a:cubicBezTo>
                <a:cubicBezTo>
                  <a:pt x="274" y="639"/>
                  <a:pt x="264" y="617"/>
                  <a:pt x="256" y="594"/>
                </a:cubicBezTo>
                <a:cubicBezTo>
                  <a:pt x="294" y="585"/>
                  <a:pt x="334" y="580"/>
                  <a:pt x="375" y="579"/>
                </a:cubicBezTo>
                <a:lnTo>
                  <a:pt x="375" y="746"/>
                </a:lnTo>
                <a:close/>
                <a:moveTo>
                  <a:pt x="141" y="635"/>
                </a:moveTo>
                <a:cubicBezTo>
                  <a:pt x="161" y="624"/>
                  <a:pt x="184" y="615"/>
                  <a:pt x="208" y="607"/>
                </a:cubicBezTo>
                <a:cubicBezTo>
                  <a:pt x="223" y="653"/>
                  <a:pt x="244" y="693"/>
                  <a:pt x="268" y="724"/>
                </a:cubicBezTo>
                <a:cubicBezTo>
                  <a:pt x="219" y="704"/>
                  <a:pt x="176" y="673"/>
                  <a:pt x="141" y="635"/>
                </a:cubicBezTo>
                <a:close/>
                <a:moveTo>
                  <a:pt x="109" y="595"/>
                </a:moveTo>
                <a:cubicBezTo>
                  <a:pt x="77" y="546"/>
                  <a:pt x="56" y="488"/>
                  <a:pt x="52" y="425"/>
                </a:cubicBezTo>
                <a:lnTo>
                  <a:pt x="176" y="425"/>
                </a:lnTo>
                <a:cubicBezTo>
                  <a:pt x="177" y="473"/>
                  <a:pt x="184" y="518"/>
                  <a:pt x="194" y="559"/>
                </a:cubicBezTo>
                <a:cubicBezTo>
                  <a:pt x="163" y="569"/>
                  <a:pt x="135" y="581"/>
                  <a:pt x="109" y="595"/>
                </a:cubicBezTo>
                <a:close/>
                <a:moveTo>
                  <a:pt x="108" y="208"/>
                </a:moveTo>
                <a:cubicBezTo>
                  <a:pt x="134" y="222"/>
                  <a:pt x="163" y="234"/>
                  <a:pt x="193" y="244"/>
                </a:cubicBezTo>
                <a:cubicBezTo>
                  <a:pt x="183" y="285"/>
                  <a:pt x="177" y="329"/>
                  <a:pt x="176" y="375"/>
                </a:cubicBezTo>
                <a:lnTo>
                  <a:pt x="52" y="375"/>
                </a:lnTo>
                <a:cubicBezTo>
                  <a:pt x="56" y="314"/>
                  <a:pt x="76" y="257"/>
                  <a:pt x="108" y="208"/>
                </a:cubicBezTo>
                <a:close/>
                <a:moveTo>
                  <a:pt x="268" y="76"/>
                </a:moveTo>
                <a:cubicBezTo>
                  <a:pt x="244" y="108"/>
                  <a:pt x="223" y="149"/>
                  <a:pt x="207" y="196"/>
                </a:cubicBezTo>
                <a:cubicBezTo>
                  <a:pt x="183" y="188"/>
                  <a:pt x="160" y="179"/>
                  <a:pt x="139" y="168"/>
                </a:cubicBezTo>
                <a:cubicBezTo>
                  <a:pt x="175" y="128"/>
                  <a:pt x="219" y="97"/>
                  <a:pt x="268" y="76"/>
                </a:cubicBezTo>
                <a:close/>
                <a:moveTo>
                  <a:pt x="425" y="1"/>
                </a:moveTo>
                <a:lnTo>
                  <a:pt x="425" y="0"/>
                </a:lnTo>
                <a:lnTo>
                  <a:pt x="375" y="0"/>
                </a:lnTo>
                <a:lnTo>
                  <a:pt x="375" y="1"/>
                </a:lnTo>
                <a:cubicBezTo>
                  <a:pt x="174" y="14"/>
                  <a:pt x="14" y="174"/>
                  <a:pt x="1" y="375"/>
                </a:cubicBezTo>
                <a:lnTo>
                  <a:pt x="0" y="375"/>
                </a:lnTo>
                <a:lnTo>
                  <a:pt x="0" y="425"/>
                </a:lnTo>
                <a:lnTo>
                  <a:pt x="1" y="425"/>
                </a:lnTo>
                <a:cubicBezTo>
                  <a:pt x="14" y="626"/>
                  <a:pt x="174" y="787"/>
                  <a:pt x="375" y="799"/>
                </a:cubicBezTo>
                <a:lnTo>
                  <a:pt x="375" y="800"/>
                </a:lnTo>
                <a:lnTo>
                  <a:pt x="425" y="800"/>
                </a:lnTo>
                <a:lnTo>
                  <a:pt x="425" y="799"/>
                </a:lnTo>
                <a:cubicBezTo>
                  <a:pt x="626" y="787"/>
                  <a:pt x="787" y="626"/>
                  <a:pt x="799" y="425"/>
                </a:cubicBezTo>
                <a:lnTo>
                  <a:pt x="800" y="425"/>
                </a:lnTo>
                <a:lnTo>
                  <a:pt x="800" y="375"/>
                </a:lnTo>
                <a:lnTo>
                  <a:pt x="799" y="375"/>
                </a:lnTo>
                <a:cubicBezTo>
                  <a:pt x="787" y="174"/>
                  <a:pt x="626" y="14"/>
                  <a:pt x="425"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Arc 12"/>
          <p:cNvSpPr>
            <a:spLocks noChangeAspect="1"/>
          </p:cNvSpPr>
          <p:nvPr/>
        </p:nvSpPr>
        <p:spPr>
          <a:xfrm>
            <a:off x="1098366" y="2124556"/>
            <a:ext cx="2608891" cy="2608891"/>
          </a:xfrm>
          <a:prstGeom prst="arc">
            <a:avLst>
              <a:gd name="adj1" fmla="val 6337643"/>
              <a:gd name="adj2" fmla="val 0"/>
            </a:avLst>
          </a:prstGeom>
          <a:ln w="381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Arc 13"/>
          <p:cNvSpPr>
            <a:spLocks noChangeAspect="1"/>
          </p:cNvSpPr>
          <p:nvPr/>
        </p:nvSpPr>
        <p:spPr>
          <a:xfrm rot="7470034">
            <a:off x="1422761" y="2448952"/>
            <a:ext cx="1960098" cy="1960098"/>
          </a:xfrm>
          <a:prstGeom prst="arc">
            <a:avLst>
              <a:gd name="adj1" fmla="val 6337643"/>
              <a:gd name="adj2" fmla="val 0"/>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Arc 14"/>
          <p:cNvSpPr>
            <a:spLocks noChangeAspect="1"/>
          </p:cNvSpPr>
          <p:nvPr/>
        </p:nvSpPr>
        <p:spPr>
          <a:xfrm rot="10507968">
            <a:off x="492973" y="1519162"/>
            <a:ext cx="3819677" cy="3819677"/>
          </a:xfrm>
          <a:prstGeom prst="arc">
            <a:avLst>
              <a:gd name="adj1" fmla="val 6337643"/>
              <a:gd name="adj2" fmla="val 0"/>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Oval 15"/>
          <p:cNvSpPr>
            <a:spLocks noChangeAspect="1"/>
          </p:cNvSpPr>
          <p:nvPr/>
        </p:nvSpPr>
        <p:spPr>
          <a:xfrm>
            <a:off x="3062668" y="1526045"/>
            <a:ext cx="426575" cy="4265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1</a:t>
            </a:r>
          </a:p>
        </p:txBody>
      </p:sp>
      <p:sp>
        <p:nvSpPr>
          <p:cNvPr id="17" name="Oval 16"/>
          <p:cNvSpPr>
            <a:spLocks noChangeAspect="1"/>
          </p:cNvSpPr>
          <p:nvPr/>
        </p:nvSpPr>
        <p:spPr>
          <a:xfrm>
            <a:off x="3814928" y="2264991"/>
            <a:ext cx="426575" cy="426575"/>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2</a:t>
            </a:r>
          </a:p>
        </p:txBody>
      </p:sp>
      <p:sp>
        <p:nvSpPr>
          <p:cNvPr id="18" name="Oval 17"/>
          <p:cNvSpPr>
            <a:spLocks noChangeAspect="1"/>
          </p:cNvSpPr>
          <p:nvPr/>
        </p:nvSpPr>
        <p:spPr>
          <a:xfrm>
            <a:off x="4034723" y="3533868"/>
            <a:ext cx="426575" cy="426575"/>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3</a:t>
            </a:r>
          </a:p>
        </p:txBody>
      </p:sp>
      <p:sp>
        <p:nvSpPr>
          <p:cNvPr id="19" name="Oval 18"/>
          <p:cNvSpPr>
            <a:spLocks noChangeAspect="1"/>
          </p:cNvSpPr>
          <p:nvPr/>
        </p:nvSpPr>
        <p:spPr>
          <a:xfrm>
            <a:off x="3560775" y="4478807"/>
            <a:ext cx="426575" cy="426575"/>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bg1"/>
                </a:solidFill>
                <a:effectLst/>
                <a:uLnTx/>
                <a:uFillTx/>
              </a:rPr>
              <a:t>4</a:t>
            </a:r>
          </a:p>
        </p:txBody>
      </p:sp>
      <p:sp>
        <p:nvSpPr>
          <p:cNvPr id="21" name="TextBox 20"/>
          <p:cNvSpPr txBox="1"/>
          <p:nvPr/>
        </p:nvSpPr>
        <p:spPr>
          <a:xfrm>
            <a:off x="3584797" y="992064"/>
            <a:ext cx="8269352" cy="646331"/>
          </a:xfrm>
          <a:prstGeom prst="rect">
            <a:avLst/>
          </a:prstGeom>
          <a:noFill/>
        </p:spPr>
        <p:txBody>
          <a:bodyPr wrap="square" rtlCol="0">
            <a:spAutoFit/>
          </a:bodyPr>
          <a:lstStyle/>
          <a:p>
            <a:r>
              <a:rPr lang="en-US" dirty="0" smtClean="0"/>
              <a:t>The </a:t>
            </a:r>
            <a:r>
              <a:rPr lang="en-US" b="1" dirty="0" smtClean="0"/>
              <a:t>film Harry Potter </a:t>
            </a:r>
            <a:r>
              <a:rPr lang="en-US" dirty="0"/>
              <a:t>one of the most successful movie franchises of all-time, </a:t>
            </a:r>
            <a:r>
              <a:rPr lang="en-US" dirty="0" smtClean="0"/>
              <a:t>and </a:t>
            </a:r>
            <a:r>
              <a:rPr lang="en-US" dirty="0"/>
              <a:t>one of the best-reviewed films of 2011</a:t>
            </a:r>
          </a:p>
        </p:txBody>
      </p:sp>
      <p:sp>
        <p:nvSpPr>
          <p:cNvPr id="22" name="TextBox 21"/>
          <p:cNvSpPr txBox="1"/>
          <p:nvPr/>
        </p:nvSpPr>
        <p:spPr>
          <a:xfrm>
            <a:off x="4454790" y="2171827"/>
            <a:ext cx="7724193" cy="1200329"/>
          </a:xfrm>
          <a:prstGeom prst="rect">
            <a:avLst/>
          </a:prstGeom>
          <a:noFill/>
        </p:spPr>
        <p:txBody>
          <a:bodyPr wrap="square" rtlCol="0">
            <a:spAutoFit/>
          </a:bodyPr>
          <a:lstStyle/>
          <a:p>
            <a:r>
              <a:rPr lang="en-US" dirty="0"/>
              <a:t>Harry Potter </a:t>
            </a:r>
            <a:r>
              <a:rPr lang="en-US" dirty="0" smtClean="0"/>
              <a:t>Movie has the 234 chapters and </a:t>
            </a:r>
            <a:r>
              <a:rPr lang="en-US" b="1" dirty="0">
                <a:cs typeface="Calibri" panose="020F0502020204030204" pitchFamily="34" charset="0"/>
              </a:rPr>
              <a:t>Harry potter and the Chambers of Secret</a:t>
            </a:r>
            <a:r>
              <a:rPr lang="en-US" dirty="0">
                <a:cs typeface="Calibri" panose="020F0502020204030204" pitchFamily="34" charset="0"/>
              </a:rPr>
              <a:t> Movie has the most number of Chapters In this Series</a:t>
            </a:r>
          </a:p>
          <a:p>
            <a:endParaRPr lang="en-US" dirty="0"/>
          </a:p>
        </p:txBody>
      </p:sp>
      <p:sp>
        <p:nvSpPr>
          <p:cNvPr id="23" name="TextBox 22"/>
          <p:cNvSpPr txBox="1"/>
          <p:nvPr/>
        </p:nvSpPr>
        <p:spPr>
          <a:xfrm>
            <a:off x="4607064" y="3562489"/>
            <a:ext cx="6940627" cy="369332"/>
          </a:xfrm>
          <a:prstGeom prst="rect">
            <a:avLst/>
          </a:prstGeom>
          <a:noFill/>
        </p:spPr>
        <p:txBody>
          <a:bodyPr wrap="square" rtlCol="0">
            <a:spAutoFit/>
          </a:bodyPr>
          <a:lstStyle/>
          <a:p>
            <a:r>
              <a:rPr lang="en-US" b="1" dirty="0"/>
              <a:t>Harry potter </a:t>
            </a:r>
            <a:r>
              <a:rPr lang="en-US" dirty="0"/>
              <a:t>Is the Most popular Character </a:t>
            </a:r>
          </a:p>
        </p:txBody>
      </p:sp>
      <p:sp>
        <p:nvSpPr>
          <p:cNvPr id="24" name="TextBox 23"/>
          <p:cNvSpPr txBox="1"/>
          <p:nvPr/>
        </p:nvSpPr>
        <p:spPr>
          <a:xfrm>
            <a:off x="4034723" y="4478807"/>
            <a:ext cx="7737210" cy="923330"/>
          </a:xfrm>
          <a:prstGeom prst="rect">
            <a:avLst/>
          </a:prstGeom>
          <a:noFill/>
        </p:spPr>
        <p:txBody>
          <a:bodyPr wrap="square" rtlCol="0">
            <a:spAutoFit/>
          </a:bodyPr>
          <a:lstStyle/>
          <a:p>
            <a:r>
              <a:rPr lang="en-US" dirty="0"/>
              <a:t>There are </a:t>
            </a:r>
            <a:r>
              <a:rPr lang="en-US" b="1" dirty="0"/>
              <a:t>61 Spells </a:t>
            </a:r>
            <a:r>
              <a:rPr lang="en-US" dirty="0" smtClean="0"/>
              <a:t>In the Movie Harry potter and </a:t>
            </a:r>
            <a:r>
              <a:rPr lang="en-US" b="1" dirty="0"/>
              <a:t>Expelliarmus</a:t>
            </a:r>
            <a:r>
              <a:rPr lang="en-US" dirty="0"/>
              <a:t> is the most commonly utilized spells in the series and ranks high on the list</a:t>
            </a:r>
          </a:p>
          <a:p>
            <a:endParaRPr lang="en-US" dirty="0"/>
          </a:p>
        </p:txBody>
      </p:sp>
    </p:spTree>
    <p:extLst>
      <p:ext uri="{BB962C8B-B14F-4D97-AF65-F5344CB8AC3E}">
        <p14:creationId xmlns:p14="http://schemas.microsoft.com/office/powerpoint/2010/main" val="368529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in)">
                                      <p:cBhvr>
                                        <p:cTn id="7" dur="20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circle(in)">
                                      <p:cBhvr>
                                        <p:cTn id="12" dur="20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circle(in)">
                                      <p:cBhvr>
                                        <p:cTn id="17" dur="20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circle(in)">
                                      <p:cBhvr>
                                        <p:cTn id="22"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73195" y="1357828"/>
            <a:ext cx="8534400" cy="3615267"/>
          </a:xfrm>
        </p:spPr>
        <p:txBody>
          <a:bodyPr>
            <a:normAutofit/>
          </a:bodyPr>
          <a:lstStyle/>
          <a:p>
            <a:r>
              <a:rPr lang="en-US" sz="8800" dirty="0" smtClean="0">
                <a:solidFill>
                  <a:schemeClr val="tx1"/>
                </a:solidFill>
                <a:latin typeface="Algerian" panose="04020705040A02060702" pitchFamily="82" charset="0"/>
              </a:rPr>
              <a:t>Thank You</a:t>
            </a:r>
            <a:endParaRPr lang="en-US" sz="8800" dirty="0">
              <a:solidFill>
                <a:schemeClr val="tx1"/>
              </a:solidFill>
              <a:latin typeface="Algerian" panose="04020705040A02060702" pitchFamily="82" charset="0"/>
            </a:endParaRPr>
          </a:p>
        </p:txBody>
      </p:sp>
    </p:spTree>
    <p:extLst>
      <p:ext uri="{BB962C8B-B14F-4D97-AF65-F5344CB8AC3E}">
        <p14:creationId xmlns:p14="http://schemas.microsoft.com/office/powerpoint/2010/main" val="27099933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772" y="0"/>
            <a:ext cx="4747104" cy="550845"/>
          </a:xfrm>
        </p:spPr>
        <p:txBody>
          <a:bodyPr>
            <a:noAutofit/>
          </a:bodyPr>
          <a:lstStyle/>
          <a:p>
            <a:r>
              <a:rPr lang="en-US" dirty="0" smtClean="0">
                <a:latin typeface="Algerian" panose="04020705040A02060702" pitchFamily="82" charset="0"/>
              </a:rPr>
              <a:t>Table  OF contents</a:t>
            </a:r>
            <a:endParaRPr lang="en-US" dirty="0">
              <a:latin typeface="Algerian" panose="04020705040A02060702" pitchFamily="82" charset="0"/>
            </a:endParaRPr>
          </a:p>
        </p:txBody>
      </p:sp>
      <p:graphicFrame>
        <p:nvGraphicFramePr>
          <p:cNvPr id="6" name="Diagram 5"/>
          <p:cNvGraphicFramePr/>
          <p:nvPr>
            <p:extLst>
              <p:ext uri="{D42A27DB-BD31-4B8C-83A1-F6EECF244321}">
                <p14:modId xmlns:p14="http://schemas.microsoft.com/office/powerpoint/2010/main" val="1374668637"/>
              </p:ext>
            </p:extLst>
          </p:nvPr>
        </p:nvGraphicFramePr>
        <p:xfrm>
          <a:off x="1767595" y="2105799"/>
          <a:ext cx="8544193" cy="4010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2031999" y="1644134"/>
            <a:ext cx="3817958" cy="461665"/>
          </a:xfrm>
          <a:prstGeom prst="rect">
            <a:avLst/>
          </a:prstGeom>
          <a:noFill/>
        </p:spPr>
        <p:txBody>
          <a:bodyPr wrap="square" rtlCol="0">
            <a:spAutoFit/>
          </a:bodyPr>
          <a:lstStyle/>
          <a:p>
            <a:r>
              <a:rPr lang="en-US" sz="2400" u="sng" dirty="0" smtClean="0">
                <a:latin typeface="Bernard MT Condensed" panose="02050806060905020404" pitchFamily="18" charset="0"/>
              </a:rPr>
              <a:t>HARRY POTTER MOVIE SCRIPT</a:t>
            </a:r>
            <a:endParaRPr lang="en-US" sz="2400" u="sng" dirty="0">
              <a:latin typeface="Bernard MT Condensed" panose="02050806060905020404" pitchFamily="18" charset="0"/>
            </a:endParaRPr>
          </a:p>
        </p:txBody>
      </p:sp>
    </p:spTree>
    <p:extLst>
      <p:ext uri="{BB962C8B-B14F-4D97-AF65-F5344CB8AC3E}">
        <p14:creationId xmlns:p14="http://schemas.microsoft.com/office/powerpoint/2010/main" val="228828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anim calcmode="lin" valueType="num">
                                      <p:cBhvr>
                                        <p:cTn id="8" dur="1250" fill="hold"/>
                                        <p:tgtEl>
                                          <p:spTgt spid="6"/>
                                        </p:tgtEl>
                                        <p:attrNameLst>
                                          <p:attrName>ppt_x</p:attrName>
                                        </p:attrNameLst>
                                      </p:cBhvr>
                                      <p:tavLst>
                                        <p:tav tm="0">
                                          <p:val>
                                            <p:strVal val="#ppt_x"/>
                                          </p:val>
                                        </p:tav>
                                        <p:tav tm="100000">
                                          <p:val>
                                            <p:strVal val="#ppt_x"/>
                                          </p:val>
                                        </p:tav>
                                      </p:tavLst>
                                    </p:anim>
                                    <p:anim calcmode="lin" valueType="num">
                                      <p:cBhvr>
                                        <p:cTn id="9" dur="12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6057" y="0"/>
            <a:ext cx="4923374" cy="999068"/>
          </a:xfrm>
        </p:spPr>
        <p:txBody>
          <a:bodyPr>
            <a:noAutofit/>
          </a:bodyPr>
          <a:lstStyle/>
          <a:p>
            <a:r>
              <a:rPr lang="en-US" sz="4800" u="sng" dirty="0" smtClean="0">
                <a:latin typeface="Colonna MT" panose="04020805060202030203" pitchFamily="82" charset="0"/>
              </a:rPr>
              <a:t>data summary</a:t>
            </a:r>
            <a:endParaRPr lang="en-US" sz="4800" u="sng" dirty="0">
              <a:latin typeface="Colonna MT" panose="04020805060202030203" pitchFamily="82" charset="0"/>
            </a:endParaRPr>
          </a:p>
        </p:txBody>
      </p:sp>
      <p:sp>
        <p:nvSpPr>
          <p:cNvPr id="5" name="TextBox 4"/>
          <p:cNvSpPr txBox="1"/>
          <p:nvPr/>
        </p:nvSpPr>
        <p:spPr>
          <a:xfrm>
            <a:off x="881350" y="1304700"/>
            <a:ext cx="10642294" cy="1754326"/>
          </a:xfrm>
          <a:prstGeom prst="rect">
            <a:avLst/>
          </a:prstGeom>
          <a:noFill/>
        </p:spPr>
        <p:txBody>
          <a:bodyPr wrap="square" rtlCol="0">
            <a:spAutoFit/>
          </a:bodyPr>
          <a:lstStyle/>
          <a:p>
            <a:r>
              <a:rPr lang="en-US" b="1" i="1" dirty="0" smtClean="0">
                <a:solidFill>
                  <a:schemeClr val="accent2">
                    <a:lumMod val="60000"/>
                    <a:lumOff val="40000"/>
                  </a:schemeClr>
                </a:solidFill>
              </a:rPr>
              <a:t>Harry Potter </a:t>
            </a:r>
            <a:r>
              <a:rPr lang="en-US" dirty="0" smtClean="0"/>
              <a:t>is a film series based on the eponymous novels by </a:t>
            </a:r>
            <a:r>
              <a:rPr lang="en-US" dirty="0" smtClean="0">
                <a:ln w="0"/>
                <a:solidFill>
                  <a:schemeClr val="accent1"/>
                </a:solidFill>
                <a:effectLst>
                  <a:outerShdw blurRad="38100" dist="25400" dir="5400000" algn="ctr" rotWithShape="0">
                    <a:srgbClr val="6E747A">
                      <a:alpha val="43000"/>
                    </a:srgbClr>
                  </a:outerShdw>
                </a:effectLst>
              </a:rPr>
              <a:t>J. K. Rowling</a:t>
            </a:r>
            <a:r>
              <a:rPr lang="en-US" dirty="0" smtClean="0"/>
              <a:t>. The series is distributed by Warner Bros. and consists of eight fantasy films, beginning with Harry Potter and the Philosopher's Stone (2001) and culminating with Harry Potter and the Deathly Hallows – Part 2 (</a:t>
            </a:r>
            <a:r>
              <a:rPr lang="en-US" smtClean="0"/>
              <a:t>2011</a:t>
            </a:r>
            <a:r>
              <a:rPr lang="en-US" smtClean="0"/>
              <a:t>). </a:t>
            </a:r>
            <a:r>
              <a:rPr lang="en-US" dirty="0" smtClean="0"/>
              <a:t>A spin-off prequel series that will consist of five films started with Fantastic Beasts and Where to Find Them (2016), marking the beginning of the Wizarding World shared media franchise</a:t>
            </a:r>
            <a:endParaRPr lang="en-US" dirty="0"/>
          </a:p>
        </p:txBody>
      </p:sp>
      <p:sp>
        <p:nvSpPr>
          <p:cNvPr id="6" name="TextBox 5"/>
          <p:cNvSpPr txBox="1"/>
          <p:nvPr/>
        </p:nvSpPr>
        <p:spPr>
          <a:xfrm>
            <a:off x="1068637" y="3660243"/>
            <a:ext cx="10642294" cy="923330"/>
          </a:xfrm>
          <a:prstGeom prst="rect">
            <a:avLst/>
          </a:prstGeom>
          <a:noFill/>
        </p:spPr>
        <p:txBody>
          <a:bodyPr wrap="square" rtlCol="0">
            <a:spAutoFit/>
          </a:bodyPr>
          <a:lstStyle/>
          <a:p>
            <a:r>
              <a:rPr lang="en-US" dirty="0" smtClean="0"/>
              <a:t>Harry Potter is an orphaned boy brought up by his unkind Muggle (non-magical) aunt and uncle. At the age of eleven, half-giant Rubeus Hagrid informs him that he is actually a wizard and that his parents were murdered by an evil wizard named Lord Voldemort.</a:t>
            </a:r>
            <a:endParaRPr lang="en-US" dirty="0"/>
          </a:p>
        </p:txBody>
      </p:sp>
      <p:sp>
        <p:nvSpPr>
          <p:cNvPr id="8" name="Rectangle 7"/>
          <p:cNvSpPr/>
          <p:nvPr/>
        </p:nvSpPr>
        <p:spPr>
          <a:xfrm>
            <a:off x="1068637" y="4861624"/>
            <a:ext cx="9970264" cy="369332"/>
          </a:xfrm>
          <a:prstGeom prst="rect">
            <a:avLst/>
          </a:prstGeom>
        </p:spPr>
        <p:txBody>
          <a:bodyPr wrap="square">
            <a:spAutoFit/>
          </a:bodyPr>
          <a:lstStyle/>
          <a:p>
            <a:r>
              <a:rPr lang="en-US" dirty="0" smtClean="0"/>
              <a:t>one of the most successful movie franchises of all-time, Harry Potter!</a:t>
            </a:r>
            <a:endParaRPr lang="en-US" dirty="0"/>
          </a:p>
        </p:txBody>
      </p:sp>
    </p:spTree>
    <p:extLst>
      <p:ext uri="{BB962C8B-B14F-4D97-AF65-F5344CB8AC3E}">
        <p14:creationId xmlns:p14="http://schemas.microsoft.com/office/powerpoint/2010/main" val="31524442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 y="815249"/>
            <a:ext cx="9441454" cy="4524315"/>
          </a:xfrm>
          <a:prstGeom prst="rect">
            <a:avLst/>
          </a:prstGeom>
          <a:noFill/>
        </p:spPr>
        <p:txBody>
          <a:bodyPr wrap="square" rtlCol="0">
            <a:spAutoFit/>
          </a:bodyPr>
          <a:lstStyle/>
          <a:p>
            <a:r>
              <a:rPr lang="en-US" sz="9600" dirty="0" smtClean="0">
                <a:latin typeface="Algerian" panose="04020705040A02060702" pitchFamily="82" charset="0"/>
              </a:rPr>
              <a:t>What are we talking about?</a:t>
            </a:r>
            <a:endParaRPr lang="en-US" sz="9600" dirty="0">
              <a:latin typeface="Algerian" panose="04020705040A02060702" pitchFamily="82" charset="0"/>
            </a:endParaRPr>
          </a:p>
        </p:txBody>
      </p:sp>
    </p:spTree>
    <p:extLst>
      <p:ext uri="{BB962C8B-B14F-4D97-AF65-F5344CB8AC3E}">
        <p14:creationId xmlns:p14="http://schemas.microsoft.com/office/powerpoint/2010/main" val="3576395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63557" y="594912"/>
            <a:ext cx="7733841" cy="3077766"/>
          </a:xfrm>
          <a:prstGeom prst="rect">
            <a:avLst/>
          </a:prstGeom>
          <a:noFill/>
        </p:spPr>
        <p:txBody>
          <a:bodyPr wrap="square" rtlCol="0">
            <a:spAutoFit/>
          </a:bodyPr>
          <a:lstStyle/>
          <a:p>
            <a:r>
              <a:rPr lang="en-US" sz="4800" dirty="0" smtClean="0"/>
              <a:t>Objective</a:t>
            </a:r>
          </a:p>
          <a:p>
            <a:endParaRPr lang="en-US" dirty="0"/>
          </a:p>
          <a:p>
            <a:r>
              <a:rPr lang="en-US" sz="3200" dirty="0" smtClean="0"/>
              <a:t>Evaluating the movie dataset through the different aspects of </a:t>
            </a:r>
            <a:r>
              <a:rPr lang="en-US" sz="3200" b="1" dirty="0" smtClean="0"/>
              <a:t>Budget , Movie , dialogue , spells </a:t>
            </a:r>
            <a:r>
              <a:rPr lang="en-US" sz="3200" dirty="0" smtClean="0"/>
              <a:t>and get summary of this movie data scripts</a:t>
            </a:r>
            <a:endParaRPr lang="en-US" sz="3200" dirty="0"/>
          </a:p>
        </p:txBody>
      </p:sp>
    </p:spTree>
    <p:extLst>
      <p:ext uri="{BB962C8B-B14F-4D97-AF65-F5344CB8AC3E}">
        <p14:creationId xmlns:p14="http://schemas.microsoft.com/office/powerpoint/2010/main" val="27954093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4212" y="685800"/>
            <a:ext cx="8534400" cy="4778566"/>
          </a:xfrm>
        </p:spPr>
        <p:txBody>
          <a:bodyPr>
            <a:normAutofit/>
          </a:bodyPr>
          <a:lstStyle/>
          <a:p>
            <a:r>
              <a:rPr lang="en-US" sz="7200" b="1" dirty="0" smtClean="0">
                <a:solidFill>
                  <a:schemeClr val="tx1"/>
                </a:solidFill>
                <a:latin typeface="Algerian" panose="04020705040A02060702" pitchFamily="82" charset="0"/>
              </a:rPr>
              <a:t>Present Data</a:t>
            </a:r>
            <a:endParaRPr lang="en-US" sz="7200" b="1" dirty="0">
              <a:solidFill>
                <a:schemeClr val="tx1"/>
              </a:solidFill>
              <a:latin typeface="Algerian" panose="04020705040A02060702" pitchFamily="82" charset="0"/>
            </a:endParaRPr>
          </a:p>
        </p:txBody>
      </p:sp>
    </p:spTree>
    <p:extLst>
      <p:ext uri="{BB962C8B-B14F-4D97-AF65-F5344CB8AC3E}">
        <p14:creationId xmlns:p14="http://schemas.microsoft.com/office/powerpoint/2010/main" val="862593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2" y="-130671"/>
            <a:ext cx="5936925" cy="816471"/>
          </a:xfrm>
        </p:spPr>
        <p:txBody>
          <a:bodyPr/>
          <a:lstStyle/>
          <a:p>
            <a:r>
              <a:rPr lang="en-US" b="1" u="sng" dirty="0"/>
              <a:t>Box office vs budget </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38093" y="840035"/>
            <a:ext cx="6111048" cy="3897217"/>
          </a:xfrm>
        </p:spPr>
      </p:pic>
    </p:spTree>
    <p:extLst>
      <p:ext uri="{BB962C8B-B14F-4D97-AF65-F5344CB8AC3E}">
        <p14:creationId xmlns:p14="http://schemas.microsoft.com/office/powerpoint/2010/main" val="7982818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48299" y="685800"/>
            <a:ext cx="10080434" cy="5435754"/>
          </a:xfrm>
        </p:spPr>
      </p:pic>
    </p:spTree>
    <p:extLst>
      <p:ext uri="{BB962C8B-B14F-4D97-AF65-F5344CB8AC3E}">
        <p14:creationId xmlns:p14="http://schemas.microsoft.com/office/powerpoint/2010/main" val="2835854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6399634" cy="673252"/>
          </a:xfrm>
        </p:spPr>
        <p:txBody>
          <a:bodyPr>
            <a:noAutofit/>
          </a:bodyPr>
          <a:lstStyle/>
          <a:p>
            <a:r>
              <a:rPr lang="en-US" b="1" u="sng" dirty="0" smtClean="0"/>
              <a:t>Box office vs budget </a:t>
            </a:r>
            <a:endParaRPr lang="en-US" b="1" u="sng"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884176" y="254611"/>
            <a:ext cx="6307824" cy="4736030"/>
          </a:xfrm>
        </p:spPr>
      </p:pic>
      <p:sp>
        <p:nvSpPr>
          <p:cNvPr id="5" name="TextBox 4"/>
          <p:cNvSpPr txBox="1"/>
          <p:nvPr/>
        </p:nvSpPr>
        <p:spPr>
          <a:xfrm>
            <a:off x="209321" y="1863429"/>
            <a:ext cx="5674855" cy="923330"/>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  </a:t>
            </a:r>
            <a:r>
              <a:rPr lang="en-US" dirty="0" smtClean="0"/>
              <a:t>The </a:t>
            </a:r>
            <a:r>
              <a:rPr lang="en-US" b="1" dirty="0" smtClean="0"/>
              <a:t>film Harry Potter and the Deathly </a:t>
            </a:r>
            <a:r>
              <a:rPr lang="en-US" b="1" dirty="0" err="1" smtClean="0"/>
              <a:t>HallowsPart</a:t>
            </a:r>
            <a:r>
              <a:rPr lang="en-US" b="1" dirty="0" smtClean="0"/>
              <a:t> 2 </a:t>
            </a:r>
            <a:r>
              <a:rPr lang="en-US" dirty="0"/>
              <a:t>was a commercial success and one of the </a:t>
            </a:r>
            <a:r>
              <a:rPr lang="en-US" dirty="0" smtClean="0"/>
              <a:t>    best-reviewed </a:t>
            </a:r>
            <a:r>
              <a:rPr lang="en-US" dirty="0"/>
              <a:t>films of 2011</a:t>
            </a:r>
          </a:p>
        </p:txBody>
      </p:sp>
      <p:sp>
        <p:nvSpPr>
          <p:cNvPr id="7" name="TextBox 6"/>
          <p:cNvSpPr txBox="1"/>
          <p:nvPr/>
        </p:nvSpPr>
        <p:spPr>
          <a:xfrm>
            <a:off x="209322" y="3114122"/>
            <a:ext cx="5497416" cy="1200329"/>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 </a:t>
            </a:r>
            <a:r>
              <a:rPr lang="en-US" dirty="0" smtClean="0"/>
              <a:t>Part 2 grossed over </a:t>
            </a:r>
            <a:r>
              <a:rPr lang="en-US" b="1" dirty="0" smtClean="0"/>
              <a:t>$1.3 billion </a:t>
            </a:r>
            <a:r>
              <a:rPr lang="en-US" dirty="0" smtClean="0"/>
              <a:t>worldwide and became the third-highest-grossing film at the time, as well as the highest-grossing film of 2011</a:t>
            </a:r>
            <a:endParaRPr lang="en-US" dirty="0"/>
          </a:p>
        </p:txBody>
      </p:sp>
      <p:sp>
        <p:nvSpPr>
          <p:cNvPr id="8" name="TextBox 7"/>
          <p:cNvSpPr txBox="1"/>
          <p:nvPr/>
        </p:nvSpPr>
        <p:spPr>
          <a:xfrm>
            <a:off x="209321" y="4667475"/>
            <a:ext cx="5497418" cy="646331"/>
          </a:xfrm>
          <a:prstGeom prst="rect">
            <a:avLst/>
          </a:prstGeom>
          <a:noFill/>
        </p:spPr>
        <p:txBody>
          <a:bodyPr wrap="square" rtlCol="0">
            <a:spAutoFit/>
          </a:bodyPr>
          <a:lstStyle/>
          <a:p>
            <a:r>
              <a:rPr lang="en-US" dirty="0" smtClean="0">
                <a:latin typeface="Calibri" panose="020F0502020204030204" pitchFamily="34" charset="0"/>
                <a:cs typeface="Calibri" panose="020F0502020204030204" pitchFamily="34" charset="0"/>
              </a:rPr>
              <a:t>→ Life Time Grosses of the all Harry potter movies is  </a:t>
            </a:r>
            <a:r>
              <a:rPr lang="en-US" b="1" dirty="0" smtClean="0">
                <a:latin typeface="Calibri" panose="020F0502020204030204" pitchFamily="34" charset="0"/>
                <a:cs typeface="Calibri" panose="020F0502020204030204" pitchFamily="34" charset="0"/>
              </a:rPr>
              <a:t>$7.8 billion </a:t>
            </a:r>
            <a:endParaRPr lang="en-US" b="1" dirty="0"/>
          </a:p>
        </p:txBody>
      </p:sp>
    </p:spTree>
    <p:extLst>
      <p:ext uri="{BB962C8B-B14F-4D97-AF65-F5344CB8AC3E}">
        <p14:creationId xmlns:p14="http://schemas.microsoft.com/office/powerpoint/2010/main" val="350635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circle(in)">
                                      <p:cBhvr>
                                        <p:cTn id="12" dur="20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circle(in)">
                                      <p:cBhvr>
                                        <p:cTn id="1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324</TotalTime>
  <Words>559</Words>
  <Application>Microsoft Office PowerPoint</Application>
  <PresentationFormat>Widescreen</PresentationFormat>
  <Paragraphs>56</Paragraphs>
  <Slides>18</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8</vt:i4>
      </vt:variant>
    </vt:vector>
  </HeadingPairs>
  <TitlesOfParts>
    <vt:vector size="25" baseType="lpstr">
      <vt:lpstr>Algerian</vt:lpstr>
      <vt:lpstr>Bernard MT Condensed</vt:lpstr>
      <vt:lpstr>Calibri</vt:lpstr>
      <vt:lpstr>Century Gothic</vt:lpstr>
      <vt:lpstr>Colonna MT</vt:lpstr>
      <vt:lpstr>Wingdings 3</vt:lpstr>
      <vt:lpstr>Slice</vt:lpstr>
      <vt:lpstr>PowerPoint Presentation</vt:lpstr>
      <vt:lpstr>Table  OF contents</vt:lpstr>
      <vt:lpstr>data summary</vt:lpstr>
      <vt:lpstr>PowerPoint Presentation</vt:lpstr>
      <vt:lpstr>PowerPoint Presentation</vt:lpstr>
      <vt:lpstr>PowerPoint Presentation</vt:lpstr>
      <vt:lpstr>Box office vs budget </vt:lpstr>
      <vt:lpstr>PowerPoint Presentation</vt:lpstr>
      <vt:lpstr>Box office vs budget </vt:lpstr>
      <vt:lpstr>Movie , Chapter ,dialogue</vt:lpstr>
      <vt:lpstr>PowerPoint Presentation</vt:lpstr>
      <vt:lpstr>Movie , Chapter ,dialogue</vt:lpstr>
      <vt:lpstr>Most popular character</vt:lpstr>
      <vt:lpstr>Spell</vt:lpstr>
      <vt:lpstr>POWEr-bi dashboard</vt:lpstr>
      <vt:lpstr>PowerPoint Presentation</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Microsoft account</cp:lastModifiedBy>
  <cp:revision>25</cp:revision>
  <dcterms:created xsi:type="dcterms:W3CDTF">2022-01-29T17:18:31Z</dcterms:created>
  <dcterms:modified xsi:type="dcterms:W3CDTF">2022-01-30T06:11:11Z</dcterms:modified>
</cp:coreProperties>
</file>